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Override1.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Override2.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theme/themeOverride3.xml" ContentType="application/vnd.openxmlformats-officedocument.themeOverride+xml"/>
  <Override PartName="/ppt/tags/tag48.xml" ContentType="application/vnd.openxmlformats-officedocument.presentationml.tags+xml"/>
  <Override PartName="/ppt/tags/tag49.xml" ContentType="application/vnd.openxmlformats-officedocument.presentationml.tags+xml"/>
  <Override PartName="/ppt/theme/themeOverride4.xml" ContentType="application/vnd.openxmlformats-officedocument.themeOverride+xml"/>
  <Override PartName="/ppt/tags/tag50.xml" ContentType="application/vnd.openxmlformats-officedocument.presentationml.tags+xml"/>
  <Override PartName="/ppt/tags/tag51.xml" ContentType="application/vnd.openxmlformats-officedocument.presentationml.tags+xml"/>
  <Override PartName="/ppt/theme/themeOverride5.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heme/themeOverride6.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theme/themeOverride7.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Override8.xml" ContentType="application/vnd.openxmlformats-officedocument.themeOverr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Override9.xml" ContentType="application/vnd.openxmlformats-officedocument.themeOverride+xml"/>
  <Override PartName="/ppt/tags/tag68.xml" ContentType="application/vnd.openxmlformats-officedocument.presentationml.tags+xml"/>
  <Override PartName="/ppt/tags/tag69.xml" ContentType="application/vnd.openxmlformats-officedocument.presentationml.tags+xml"/>
  <Override PartName="/ppt/theme/themeOverride10.xml" ContentType="application/vnd.openxmlformats-officedocument.themeOverride+xml"/>
  <Override PartName="/ppt/tags/tag70.xml" ContentType="application/vnd.openxmlformats-officedocument.presentationml.tags+xml"/>
  <Override PartName="/ppt/tags/tag71.xml" ContentType="application/vnd.openxmlformats-officedocument.presentationml.tags+xml"/>
  <Override PartName="/ppt/theme/themeOverride1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heme/themeOverride12.xml" ContentType="application/vnd.openxmlformats-officedocument.themeOverr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Override13.xml" ContentType="application/vnd.openxmlformats-officedocument.themeOverr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Override14.xml" ContentType="application/vnd.openxmlformats-officedocument.themeOverr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heme/themeOverride15.xml" ContentType="application/vnd.openxmlformats-officedocument.themeOverr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Override16.xml" ContentType="application/vnd.openxmlformats-officedocument.themeOverr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Override17.xml" ContentType="application/vnd.openxmlformats-officedocument.themeOverride+xml"/>
  <Override PartName="/ppt/tags/tag96.xml" ContentType="application/vnd.openxmlformats-officedocument.presentationml.tags+xml"/>
  <Override PartName="/ppt/theme/themeOverride18.xml" ContentType="application/vnd.openxmlformats-officedocument.themeOverr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heme/themeOverride19.xml" ContentType="application/vnd.openxmlformats-officedocument.themeOverr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heme/themeOverride20.xml" ContentType="application/vnd.openxmlformats-officedocument.themeOverride+xml"/>
  <Override PartName="/ppt/tags/tag130.xml" ContentType="application/vnd.openxmlformats-officedocument.presentationml.tags+xml"/>
  <Override PartName="/ppt/tags/tag131.xml" ContentType="application/vnd.openxmlformats-officedocument.presentationml.tags+xml"/>
  <Override PartName="/ppt/theme/themeOverride21.xml" ContentType="application/vnd.openxmlformats-officedocument.themeOverride+xml"/>
  <Override PartName="/ppt/tags/tag132.xml" ContentType="application/vnd.openxmlformats-officedocument.presentationml.tags+xml"/>
  <Override PartName="/ppt/tags/tag133.xml" ContentType="application/vnd.openxmlformats-officedocument.presentationml.tags+xml"/>
  <Override PartName="/ppt/theme/themeOverride22.xml" ContentType="application/vnd.openxmlformats-officedocument.themeOverride+xml"/>
  <Override PartName="/ppt/tags/tag134.xml" ContentType="application/vnd.openxmlformats-officedocument.presentationml.tags+xml"/>
  <Override PartName="/ppt/tags/tag135.xml" ContentType="application/vnd.openxmlformats-officedocument.presentationml.tags+xml"/>
  <Override PartName="/ppt/theme/themeOverride23.xml" ContentType="application/vnd.openxmlformats-officedocument.themeOverride+xml"/>
  <Override PartName="/ppt/tags/tag136.xml" ContentType="application/vnd.openxmlformats-officedocument.presentationml.tags+xml"/>
  <Override PartName="/ppt/tags/tag137.xml" ContentType="application/vnd.openxmlformats-officedocument.presentationml.tags+xml"/>
  <Override PartName="/ppt/theme/themeOverride24.xml" ContentType="application/vnd.openxmlformats-officedocument.themeOverr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heme/themeOverride25.xml" ContentType="application/vnd.openxmlformats-officedocument.themeOverride+xml"/>
  <Override PartName="/ppt/tags/tag141.xml" ContentType="application/vnd.openxmlformats-officedocument.presentationml.tags+xml"/>
  <Override PartName="/ppt/tags/tag142.xml" ContentType="application/vnd.openxmlformats-officedocument.presentationml.tags+xml"/>
  <Override PartName="/ppt/theme/themeOverride26.xml" ContentType="application/vnd.openxmlformats-officedocument.themeOverr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heme/themeOverride27.xml" ContentType="application/vnd.openxmlformats-officedocument.themeOverr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heme/themeOverride28.xml" ContentType="application/vnd.openxmlformats-officedocument.themeOverr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heme/themeOverride29.xml" ContentType="application/vnd.openxmlformats-officedocument.themeOverr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heme/themeOverride30.xml" ContentType="application/vnd.openxmlformats-officedocument.themeOverr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heme/themeOverride31.xml" ContentType="application/vnd.openxmlformats-officedocument.themeOverride+xml"/>
  <Override PartName="/ppt/tags/tag164.xml" ContentType="application/vnd.openxmlformats-officedocument.presentationml.tags+xml"/>
  <Override PartName="/ppt/theme/themeOverride32.xml" ContentType="application/vnd.openxmlformats-officedocument.themeOverr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heme/themeOverride33.xml" ContentType="application/vnd.openxmlformats-officedocument.themeOverride+xml"/>
  <Override PartName="/ppt/tags/tag168.xml" ContentType="application/vnd.openxmlformats-officedocument.presentationml.tags+xml"/>
  <Override PartName="/ppt/theme/themeOverride34.xml" ContentType="application/vnd.openxmlformats-officedocument.themeOverr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heme/themeOverride35.xml" ContentType="application/vnd.openxmlformats-officedocument.themeOverride+xml"/>
  <Override PartName="/ppt/tags/tag172.xml" ContentType="application/vnd.openxmlformats-officedocument.presentationml.tags+xml"/>
  <Override PartName="/ppt/tags/tag173.xml" ContentType="application/vnd.openxmlformats-officedocument.presentationml.tags+xml"/>
  <Override PartName="/ppt/theme/themeOverride36.xml" ContentType="application/vnd.openxmlformats-officedocument.themeOverride+xml"/>
  <Override PartName="/ppt/tags/tag174.xml" ContentType="application/vnd.openxmlformats-officedocument.presentationml.tags+xml"/>
  <Override PartName="/ppt/theme/themeOverride37.xml" ContentType="application/vnd.openxmlformats-officedocument.themeOverride+xml"/>
  <Override PartName="/ppt/tags/tag175.xml" ContentType="application/vnd.openxmlformats-officedocument.presentationml.tags+xml"/>
  <Override PartName="/ppt/theme/themeOverride38.xml" ContentType="application/vnd.openxmlformats-officedocument.themeOverr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heme/themeOverride39.xml" ContentType="application/vnd.openxmlformats-officedocument.themeOverride+xml"/>
  <Override PartName="/ppt/tags/tag181.xml" ContentType="application/vnd.openxmlformats-officedocument.presentationml.tags+xml"/>
  <Override PartName="/ppt/theme/themeOverride40.xml" ContentType="application/vnd.openxmlformats-officedocument.themeOverride+xml"/>
  <Override PartName="/ppt/tags/tag18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83.xml" ContentType="application/vnd.openxmlformats-officedocument.presentationml.tags+xml"/>
  <Override PartName="/ppt/tags/tag184.xml" ContentType="application/vnd.openxmlformats-officedocument.presentationml.tags+xml"/>
  <Override PartName="/ppt/notesSlides/notesSlide1.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2.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3.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4.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5.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6.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7.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8.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9.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10.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notesSlides/notesSlide11.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12.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90" r:id="rId2"/>
  </p:sldMasterIdLst>
  <p:notesMasterIdLst>
    <p:notesMasterId r:id="rId24"/>
  </p:notesMasterIdLst>
  <p:handoutMasterIdLst>
    <p:handoutMasterId r:id="rId25"/>
  </p:handoutMasterIdLst>
  <p:sldIdLst>
    <p:sldId id="256" r:id="rId3"/>
    <p:sldId id="281" r:id="rId4"/>
    <p:sldId id="10642" r:id="rId5"/>
    <p:sldId id="288" r:id="rId6"/>
    <p:sldId id="289" r:id="rId7"/>
    <p:sldId id="290" r:id="rId8"/>
    <p:sldId id="291" r:id="rId9"/>
    <p:sldId id="292" r:id="rId10"/>
    <p:sldId id="293" r:id="rId11"/>
    <p:sldId id="10619" r:id="rId12"/>
    <p:sldId id="10630" r:id="rId13"/>
    <p:sldId id="10643" r:id="rId14"/>
    <p:sldId id="11402" r:id="rId15"/>
    <p:sldId id="297" r:id="rId16"/>
    <p:sldId id="298" r:id="rId17"/>
    <p:sldId id="299" r:id="rId18"/>
    <p:sldId id="300" r:id="rId19"/>
    <p:sldId id="10645" r:id="rId20"/>
    <p:sldId id="10644" r:id="rId21"/>
    <p:sldId id="261" r:id="rId22"/>
    <p:sldId id="260" r:id="rId23"/>
  </p:sldIdLst>
  <p:sldSz cx="12192000" cy="6858000"/>
  <p:notesSz cx="6950075" cy="9236075"/>
  <p:custShowLst>
    <p:custShow name="Format Guide Workshop" id="0">
      <p:sldLst/>
    </p:custShow>
  </p:custShowLst>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96" autoAdjust="0"/>
    <p:restoredTop sz="96196" autoAdjust="0"/>
  </p:normalViewPr>
  <p:slideViewPr>
    <p:cSldViewPr snapToGrid="0">
      <p:cViewPr>
        <p:scale>
          <a:sx n="66" d="100"/>
          <a:sy n="66" d="100"/>
        </p:scale>
        <p:origin x="941" y="49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9288"/>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2/8/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2/8/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748984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eaLnBrk="0" hangingPunct="0">
              <a:defRPr sz="1200" b="1">
                <a:solidFill>
                  <a:schemeClr val="tx1"/>
                </a:solidFill>
                <a:latin typeface="Arial" panose="020B0604020202020204" pitchFamily="34" charset="0"/>
                <a:cs typeface="Arial" panose="020B0604020202020204" pitchFamily="34" charset="0"/>
              </a:defRPr>
            </a:lvl1pPr>
            <a:lvl2pPr marL="742950" indent="-285750" defTabSz="928688"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928688"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928688"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928688"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fld id="{39C23EE5-F814-4B9C-8CEA-ACBFDF9FC14A}" type="slidenum">
              <a:rPr lang="en-US" altLang="fr-FR" smtClean="0"/>
              <a:pPr eaLnBrk="1" hangingPunct="1"/>
              <a:t>14</a:t>
            </a:fld>
            <a:endParaRPr lang="en-US" altLang="fr-FR" dirty="0"/>
          </a:p>
        </p:txBody>
      </p:sp>
      <p:sp>
        <p:nvSpPr>
          <p:cNvPr id="38915" name="Rectangle 2"/>
          <p:cNvSpPr>
            <a:spLocks noGrp="1" noRot="1" noChangeAspect="1" noChangeArrowheads="1" noTextEdit="1"/>
          </p:cNvSpPr>
          <p:nvPr>
            <p:ph type="sldImg"/>
          </p:nvPr>
        </p:nvSpPr>
        <p:spPr>
          <a:xfrm>
            <a:off x="155575" y="574675"/>
            <a:ext cx="6621463" cy="3724275"/>
          </a:xfrm>
          <a:ln/>
        </p:spPr>
      </p:sp>
      <p:sp>
        <p:nvSpPr>
          <p:cNvPr id="389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73399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1754418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454846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3392545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1181314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34376346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eaLnBrk="0" hangingPunct="0">
              <a:defRPr sz="1200" b="1">
                <a:solidFill>
                  <a:schemeClr val="tx1"/>
                </a:solidFill>
                <a:latin typeface="Arial" panose="020B0604020202020204" pitchFamily="34" charset="0"/>
                <a:cs typeface="Arial" panose="020B0604020202020204" pitchFamily="34" charset="0"/>
              </a:defRPr>
            </a:lvl1pPr>
            <a:lvl2pPr marL="742950" indent="-285750" defTabSz="928688"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928688"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928688"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928688"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fld id="{FAE10501-20E3-4509-B1B9-F980CF350EB0}" type="slidenum">
              <a:rPr lang="fr-FR" altLang="fr-FR"/>
              <a:pPr eaLnBrk="1" hangingPunct="1"/>
              <a:t>4</a:t>
            </a:fld>
            <a:endParaRPr lang="fr-FR" altLang="fr-FR"/>
          </a:p>
        </p:txBody>
      </p:sp>
      <p:sp>
        <p:nvSpPr>
          <p:cNvPr id="24579" name="Rectangle 2"/>
          <p:cNvSpPr>
            <a:spLocks noGrp="1" noRot="1" noChangeAspect="1" noChangeArrowheads="1" noTextEdit="1"/>
          </p:cNvSpPr>
          <p:nvPr>
            <p:ph type="sldImg"/>
          </p:nvPr>
        </p:nvSpPr>
        <p:spPr>
          <a:xfrm>
            <a:off x="141288" y="766763"/>
            <a:ext cx="6829425" cy="3841750"/>
          </a:xfrm>
          <a:ln/>
        </p:spPr>
      </p:sp>
      <p:sp>
        <p:nvSpPr>
          <p:cNvPr id="24580" name="Rectangle 3"/>
          <p:cNvSpPr>
            <a:spLocks noGrp="1" noChangeArrowheads="1"/>
          </p:cNvSpPr>
          <p:nvPr>
            <p:ph type="body" idx="1"/>
          </p:nvPr>
        </p:nvSpPr>
        <p:spPr>
          <a:xfrm>
            <a:off x="947738" y="4862513"/>
            <a:ext cx="5203825" cy="46053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altLang="fr-F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3248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1942771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1214341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eaLnBrk="0" hangingPunct="0">
              <a:defRPr sz="1200" b="1">
                <a:solidFill>
                  <a:schemeClr val="tx1"/>
                </a:solidFill>
                <a:latin typeface="Arial" panose="020B0604020202020204" pitchFamily="34" charset="0"/>
                <a:cs typeface="Arial" panose="020B0604020202020204" pitchFamily="34" charset="0"/>
              </a:defRPr>
            </a:lvl1pPr>
            <a:lvl2pPr marL="742950" indent="-285750" defTabSz="928688"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928688"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928688"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928688"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fld id="{BBB09059-6AB9-4E98-BFAB-48FAA054A155}" type="slidenum">
              <a:rPr lang="en-US" altLang="fr-FR" smtClean="0"/>
              <a:pPr eaLnBrk="1" hangingPunct="1"/>
              <a:t>9</a:t>
            </a:fld>
            <a:endParaRPr lang="en-US" altLang="fr-FR" dirty="0"/>
          </a:p>
        </p:txBody>
      </p:sp>
      <p:sp>
        <p:nvSpPr>
          <p:cNvPr id="35843" name="Rectangle 2"/>
          <p:cNvSpPr>
            <a:spLocks noGrp="1" noRot="1" noChangeAspect="1" noChangeArrowheads="1" noTextEdit="1"/>
          </p:cNvSpPr>
          <p:nvPr>
            <p:ph type="sldImg"/>
          </p:nvPr>
        </p:nvSpPr>
        <p:spPr>
          <a:xfrm>
            <a:off x="155575" y="574675"/>
            <a:ext cx="6621463" cy="3724275"/>
          </a:xfrm>
          <a:ln/>
        </p:spPr>
      </p:sp>
      <p:sp>
        <p:nvSpPr>
          <p:cNvPr id="358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22789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2413745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149234177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102.xml"/><Relationship Id="rId1" Type="http://schemas.openxmlformats.org/officeDocument/2006/relationships/vmlDrawing" Target="../drawings/vmlDrawing49.vml"/><Relationship Id="rId6" Type="http://schemas.openxmlformats.org/officeDocument/2006/relationships/image" Target="../media/image20.jpeg"/><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04.xml"/><Relationship Id="rId7" Type="http://schemas.openxmlformats.org/officeDocument/2006/relationships/image" Target="../media/image3.png"/><Relationship Id="rId2" Type="http://schemas.openxmlformats.org/officeDocument/2006/relationships/tags" Target="../tags/tag103.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slideMaster" Target="../slideMasters/slideMaster2.xml"/><Relationship Id="rId9" Type="http://schemas.openxmlformats.org/officeDocument/2006/relationships/image" Target="../media/image10.png"/></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1.emf"/><Relationship Id="rId2" Type="http://schemas.openxmlformats.org/officeDocument/2006/relationships/tags" Target="../tags/tag105.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52.vml"/><Relationship Id="rId6" Type="http://schemas.openxmlformats.org/officeDocument/2006/relationships/image" Target="../media/image11.emf"/><Relationship Id="rId5" Type="http://schemas.openxmlformats.org/officeDocument/2006/relationships/oleObject" Target="../embeddings/oleObject52.bin"/><Relationship Id="rId4"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53.vml"/><Relationship Id="rId6" Type="http://schemas.openxmlformats.org/officeDocument/2006/relationships/image" Target="../media/image11.emf"/><Relationship Id="rId5" Type="http://schemas.openxmlformats.org/officeDocument/2006/relationships/oleObject" Target="../embeddings/oleObject53.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54.vml"/><Relationship Id="rId6" Type="http://schemas.openxmlformats.org/officeDocument/2006/relationships/image" Target="../media/image11.emf"/><Relationship Id="rId5" Type="http://schemas.openxmlformats.org/officeDocument/2006/relationships/oleObject" Target="../embeddings/oleObject54.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vmlDrawing" Target="../drawings/vmlDrawing55.vml"/><Relationship Id="rId6" Type="http://schemas.openxmlformats.org/officeDocument/2006/relationships/image" Target="../media/image11.emf"/><Relationship Id="rId5" Type="http://schemas.openxmlformats.org/officeDocument/2006/relationships/oleObject" Target="../embeddings/oleObject5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117.xml"/><Relationship Id="rId7" Type="http://schemas.openxmlformats.org/officeDocument/2006/relationships/image" Target="../media/image11.emf"/><Relationship Id="rId2" Type="http://schemas.openxmlformats.org/officeDocument/2006/relationships/tags" Target="../tags/tag116.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slideMaster" Target="../slideMasters/slideMaster2.xml"/><Relationship Id="rId4" Type="http://schemas.openxmlformats.org/officeDocument/2006/relationships/tags" Target="../tags/tag118.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120.xml"/><Relationship Id="rId7" Type="http://schemas.openxmlformats.org/officeDocument/2006/relationships/image" Target="../media/image11.emf"/><Relationship Id="rId2" Type="http://schemas.openxmlformats.org/officeDocument/2006/relationships/tags" Target="../tags/tag119.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slideMaster" Target="../slideMasters/slideMaster2.xml"/><Relationship Id="rId4" Type="http://schemas.openxmlformats.org/officeDocument/2006/relationships/tags" Target="../tags/tag12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58.vml"/><Relationship Id="rId6" Type="http://schemas.openxmlformats.org/officeDocument/2006/relationships/image" Target="../media/image11.emf"/><Relationship Id="rId5" Type="http://schemas.openxmlformats.org/officeDocument/2006/relationships/oleObject" Target="../embeddings/oleObject58.bin"/><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59.vml"/><Relationship Id="rId6" Type="http://schemas.openxmlformats.org/officeDocument/2006/relationships/image" Target="../media/image11.emf"/><Relationship Id="rId5" Type="http://schemas.openxmlformats.org/officeDocument/2006/relationships/oleObject" Target="../embeddings/oleObject59.bin"/><Relationship Id="rId4"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60.vml"/><Relationship Id="rId6" Type="http://schemas.openxmlformats.org/officeDocument/2006/relationships/image" Target="../media/image11.emf"/><Relationship Id="rId5" Type="http://schemas.openxmlformats.org/officeDocument/2006/relationships/oleObject" Target="../embeddings/oleObject60.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61.vml"/><Relationship Id="rId6" Type="http://schemas.openxmlformats.org/officeDocument/2006/relationships/image" Target="../media/image11.emf"/><Relationship Id="rId5" Type="http://schemas.openxmlformats.org/officeDocument/2006/relationships/oleObject" Target="../embeddings/oleObject61.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0.xml"/><Relationship Id="rId7" Type="http://schemas.openxmlformats.org/officeDocument/2006/relationships/image" Target="../media/image11.emf"/><Relationship Id="rId2" Type="http://schemas.openxmlformats.org/officeDocument/2006/relationships/vmlDrawing" Target="../drawings/vmlDrawing62.vml"/><Relationship Id="rId1" Type="http://schemas.openxmlformats.org/officeDocument/2006/relationships/themeOverride" Target="../theme/themeOverride20.xml"/><Relationship Id="rId6" Type="http://schemas.openxmlformats.org/officeDocument/2006/relationships/oleObject" Target="../embeddings/oleObject62.bin"/><Relationship Id="rId5" Type="http://schemas.openxmlformats.org/officeDocument/2006/relationships/slideMaster" Target="../slideMasters/slideMaster2.xml"/><Relationship Id="rId4" Type="http://schemas.openxmlformats.org/officeDocument/2006/relationships/tags" Target="../tags/tag131.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2.xml"/><Relationship Id="rId7" Type="http://schemas.openxmlformats.org/officeDocument/2006/relationships/image" Target="../media/image11.emf"/><Relationship Id="rId2" Type="http://schemas.openxmlformats.org/officeDocument/2006/relationships/vmlDrawing" Target="../drawings/vmlDrawing63.vml"/><Relationship Id="rId1" Type="http://schemas.openxmlformats.org/officeDocument/2006/relationships/themeOverride" Target="../theme/themeOverride21.xml"/><Relationship Id="rId6" Type="http://schemas.openxmlformats.org/officeDocument/2006/relationships/oleObject" Target="../embeddings/oleObject63.bin"/><Relationship Id="rId5" Type="http://schemas.openxmlformats.org/officeDocument/2006/relationships/slideMaster" Target="../slideMasters/slideMaster2.xml"/><Relationship Id="rId4" Type="http://schemas.openxmlformats.org/officeDocument/2006/relationships/tags" Target="../tags/tag133.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4.xml"/><Relationship Id="rId7" Type="http://schemas.openxmlformats.org/officeDocument/2006/relationships/image" Target="../media/image11.emf"/><Relationship Id="rId2" Type="http://schemas.openxmlformats.org/officeDocument/2006/relationships/vmlDrawing" Target="../drawings/vmlDrawing64.vml"/><Relationship Id="rId1" Type="http://schemas.openxmlformats.org/officeDocument/2006/relationships/themeOverride" Target="../theme/themeOverride22.xml"/><Relationship Id="rId6" Type="http://schemas.openxmlformats.org/officeDocument/2006/relationships/oleObject" Target="../embeddings/oleObject64.bin"/><Relationship Id="rId5" Type="http://schemas.openxmlformats.org/officeDocument/2006/relationships/slideMaster" Target="../slideMasters/slideMaster2.xml"/><Relationship Id="rId4" Type="http://schemas.openxmlformats.org/officeDocument/2006/relationships/tags" Target="../tags/tag135.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6.xml"/><Relationship Id="rId7" Type="http://schemas.openxmlformats.org/officeDocument/2006/relationships/image" Target="../media/image11.emf"/><Relationship Id="rId2" Type="http://schemas.openxmlformats.org/officeDocument/2006/relationships/vmlDrawing" Target="../drawings/vmlDrawing65.vml"/><Relationship Id="rId1" Type="http://schemas.openxmlformats.org/officeDocument/2006/relationships/themeOverride" Target="../theme/themeOverride23.xml"/><Relationship Id="rId6" Type="http://schemas.openxmlformats.org/officeDocument/2006/relationships/oleObject" Target="../embeddings/oleObject65.bin"/><Relationship Id="rId5" Type="http://schemas.openxmlformats.org/officeDocument/2006/relationships/slideMaster" Target="../slideMasters/slideMaster2.xml"/><Relationship Id="rId4" Type="http://schemas.openxmlformats.org/officeDocument/2006/relationships/tags" Target="../tags/tag137.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38.xml"/><Relationship Id="rId7" Type="http://schemas.openxmlformats.org/officeDocument/2006/relationships/oleObject" Target="../embeddings/oleObject66.bin"/><Relationship Id="rId2" Type="http://schemas.openxmlformats.org/officeDocument/2006/relationships/vmlDrawing" Target="../drawings/vmlDrawing66.vml"/><Relationship Id="rId1" Type="http://schemas.openxmlformats.org/officeDocument/2006/relationships/themeOverride" Target="../theme/themeOverride24.xml"/><Relationship Id="rId6" Type="http://schemas.openxmlformats.org/officeDocument/2006/relationships/slideMaster" Target="../slideMasters/slideMaster2.xml"/><Relationship Id="rId5" Type="http://schemas.openxmlformats.org/officeDocument/2006/relationships/tags" Target="../tags/tag140.xml"/><Relationship Id="rId4" Type="http://schemas.openxmlformats.org/officeDocument/2006/relationships/tags" Target="../tags/tag139.xml"/><Relationship Id="rId9" Type="http://schemas.openxmlformats.org/officeDocument/2006/relationships/image" Target="../media/image3.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1.xml"/><Relationship Id="rId7" Type="http://schemas.openxmlformats.org/officeDocument/2006/relationships/image" Target="../media/image11.emf"/><Relationship Id="rId2" Type="http://schemas.openxmlformats.org/officeDocument/2006/relationships/vmlDrawing" Target="../drawings/vmlDrawing67.vml"/><Relationship Id="rId1" Type="http://schemas.openxmlformats.org/officeDocument/2006/relationships/themeOverride" Target="../theme/themeOverride25.xml"/><Relationship Id="rId6" Type="http://schemas.openxmlformats.org/officeDocument/2006/relationships/oleObject" Target="../embeddings/oleObject67.bin"/><Relationship Id="rId5" Type="http://schemas.openxmlformats.org/officeDocument/2006/relationships/slideMaster" Target="../slideMasters/slideMaster2.xml"/><Relationship Id="rId4" Type="http://schemas.openxmlformats.org/officeDocument/2006/relationships/tags" Target="../tags/tag14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tags" Target="../tags/tag143.xml"/><Relationship Id="rId7" Type="http://schemas.openxmlformats.org/officeDocument/2006/relationships/image" Target="../media/image7.emf"/><Relationship Id="rId2" Type="http://schemas.openxmlformats.org/officeDocument/2006/relationships/vmlDrawing" Target="../drawings/vmlDrawing68.vml"/><Relationship Id="rId1" Type="http://schemas.openxmlformats.org/officeDocument/2006/relationships/themeOverride" Target="../theme/themeOverride26.xml"/><Relationship Id="rId6" Type="http://schemas.openxmlformats.org/officeDocument/2006/relationships/oleObject" Target="../embeddings/oleObject68.bin"/><Relationship Id="rId5" Type="http://schemas.openxmlformats.org/officeDocument/2006/relationships/slideMaster" Target="../slideMasters/slideMaster2.xml"/><Relationship Id="rId4" Type="http://schemas.openxmlformats.org/officeDocument/2006/relationships/tags" Target="../tags/tag144.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image" Target="../media/image16.jpg"/><Relationship Id="rId2" Type="http://schemas.openxmlformats.org/officeDocument/2006/relationships/tags" Target="../tags/tag145.xml"/><Relationship Id="rId1" Type="http://schemas.openxmlformats.org/officeDocument/2006/relationships/vmlDrawing" Target="../drawings/vmlDrawing69.vml"/><Relationship Id="rId6" Type="http://schemas.openxmlformats.org/officeDocument/2006/relationships/image" Target="../media/image11.emf"/><Relationship Id="rId5" Type="http://schemas.openxmlformats.org/officeDocument/2006/relationships/oleObject" Target="../embeddings/oleObject69.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tags" Target="../tags/tag147.xml"/><Relationship Id="rId7" Type="http://schemas.openxmlformats.org/officeDocument/2006/relationships/image" Target="../media/image11.emf"/><Relationship Id="rId2" Type="http://schemas.openxmlformats.org/officeDocument/2006/relationships/vmlDrawing" Target="../drawings/vmlDrawing70.vml"/><Relationship Id="rId1" Type="http://schemas.openxmlformats.org/officeDocument/2006/relationships/themeOverride" Target="../theme/themeOverride27.xml"/><Relationship Id="rId6" Type="http://schemas.openxmlformats.org/officeDocument/2006/relationships/oleObject" Target="../embeddings/oleObject70.bin"/><Relationship Id="rId5" Type="http://schemas.openxmlformats.org/officeDocument/2006/relationships/slideMaster" Target="../slideMasters/slideMaster2.xml"/><Relationship Id="rId4" Type="http://schemas.openxmlformats.org/officeDocument/2006/relationships/tags" Target="../tags/tag148.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17.jpg"/><Relationship Id="rId2" Type="http://schemas.openxmlformats.org/officeDocument/2006/relationships/tags" Target="../tags/tag149.xml"/><Relationship Id="rId1" Type="http://schemas.openxmlformats.org/officeDocument/2006/relationships/vmlDrawing" Target="../drawings/vmlDrawing71.vml"/><Relationship Id="rId6" Type="http://schemas.openxmlformats.org/officeDocument/2006/relationships/image" Target="../media/image11.emf"/><Relationship Id="rId5" Type="http://schemas.openxmlformats.org/officeDocument/2006/relationships/oleObject" Target="../embeddings/oleObject71.bin"/><Relationship Id="rId4"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51.xml"/><Relationship Id="rId7" Type="http://schemas.openxmlformats.org/officeDocument/2006/relationships/oleObject" Target="../embeddings/oleObject72.bin"/><Relationship Id="rId2" Type="http://schemas.openxmlformats.org/officeDocument/2006/relationships/vmlDrawing" Target="../drawings/vmlDrawing72.vml"/><Relationship Id="rId1" Type="http://schemas.openxmlformats.org/officeDocument/2006/relationships/themeOverride" Target="../theme/themeOverride28.xml"/><Relationship Id="rId6" Type="http://schemas.openxmlformats.org/officeDocument/2006/relationships/slideMaster" Target="../slideMasters/slideMaster2.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15.jpg"/></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18.jpg"/><Relationship Id="rId2" Type="http://schemas.openxmlformats.org/officeDocument/2006/relationships/tags" Target="../tags/tag154.xml"/><Relationship Id="rId1" Type="http://schemas.openxmlformats.org/officeDocument/2006/relationships/vmlDrawing" Target="../drawings/vmlDrawing73.vml"/><Relationship Id="rId6" Type="http://schemas.openxmlformats.org/officeDocument/2006/relationships/image" Target="../media/image11.emf"/><Relationship Id="rId5" Type="http://schemas.openxmlformats.org/officeDocument/2006/relationships/oleObject" Target="../embeddings/oleObject73.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tags" Target="../tags/tag156.xml"/><Relationship Id="rId7" Type="http://schemas.openxmlformats.org/officeDocument/2006/relationships/image" Target="../media/image11.emf"/><Relationship Id="rId2" Type="http://schemas.openxmlformats.org/officeDocument/2006/relationships/vmlDrawing" Target="../drawings/vmlDrawing74.vml"/><Relationship Id="rId1" Type="http://schemas.openxmlformats.org/officeDocument/2006/relationships/themeOverride" Target="../theme/themeOverride29.xml"/><Relationship Id="rId6" Type="http://schemas.openxmlformats.org/officeDocument/2006/relationships/oleObject" Target="../embeddings/oleObject74.bin"/><Relationship Id="rId5" Type="http://schemas.openxmlformats.org/officeDocument/2006/relationships/slideMaster" Target="../slideMasters/slideMaster2.xml"/><Relationship Id="rId4" Type="http://schemas.openxmlformats.org/officeDocument/2006/relationships/tags" Target="../tags/tag15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19.jpg"/><Relationship Id="rId2" Type="http://schemas.openxmlformats.org/officeDocument/2006/relationships/tags" Target="../tags/tag158.xml"/><Relationship Id="rId1" Type="http://schemas.openxmlformats.org/officeDocument/2006/relationships/vmlDrawing" Target="../drawings/vmlDrawing75.vml"/><Relationship Id="rId6" Type="http://schemas.openxmlformats.org/officeDocument/2006/relationships/image" Target="../media/image11.emf"/><Relationship Id="rId5" Type="http://schemas.openxmlformats.org/officeDocument/2006/relationships/oleObject" Target="../embeddings/oleObject75.bin"/><Relationship Id="rId4"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11.emf"/><Relationship Id="rId2" Type="http://schemas.openxmlformats.org/officeDocument/2006/relationships/vmlDrawing" Target="../drawings/vmlDrawing76.vml"/><Relationship Id="rId1" Type="http://schemas.openxmlformats.org/officeDocument/2006/relationships/themeOverride" Target="../theme/themeOverride30.xml"/><Relationship Id="rId6" Type="http://schemas.openxmlformats.org/officeDocument/2006/relationships/oleObject" Target="../embeddings/oleObject76.bin"/><Relationship Id="rId5" Type="http://schemas.openxmlformats.org/officeDocument/2006/relationships/slideMaster" Target="../slideMasters/slideMaster2.xml"/><Relationship Id="rId4" Type="http://schemas.openxmlformats.org/officeDocument/2006/relationships/tags" Target="../tags/tag161.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77.vml"/><Relationship Id="rId6" Type="http://schemas.openxmlformats.org/officeDocument/2006/relationships/image" Target="../media/image11.emf"/><Relationship Id="rId5" Type="http://schemas.openxmlformats.org/officeDocument/2006/relationships/oleObject" Target="../embeddings/oleObject77.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64.xml"/><Relationship Id="rId7" Type="http://schemas.openxmlformats.org/officeDocument/2006/relationships/image" Target="../media/image3.png"/><Relationship Id="rId2" Type="http://schemas.openxmlformats.org/officeDocument/2006/relationships/vmlDrawing" Target="../drawings/vmlDrawing78.vml"/><Relationship Id="rId1" Type="http://schemas.openxmlformats.org/officeDocument/2006/relationships/themeOverride" Target="../theme/themeOverride31.xml"/><Relationship Id="rId6" Type="http://schemas.openxmlformats.org/officeDocument/2006/relationships/image" Target="../media/image2.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65.xml"/><Relationship Id="rId7" Type="http://schemas.openxmlformats.org/officeDocument/2006/relationships/oleObject" Target="../embeddings/oleObject79.bin"/><Relationship Id="rId2" Type="http://schemas.openxmlformats.org/officeDocument/2006/relationships/vmlDrawing" Target="../drawings/vmlDrawing79.vml"/><Relationship Id="rId1" Type="http://schemas.openxmlformats.org/officeDocument/2006/relationships/themeOverride" Target="../theme/themeOverride32.xml"/><Relationship Id="rId6" Type="http://schemas.openxmlformats.org/officeDocument/2006/relationships/slideMaster" Target="../slideMasters/slideMaster2.xml"/><Relationship Id="rId5" Type="http://schemas.openxmlformats.org/officeDocument/2006/relationships/tags" Target="../tags/tag167.xml"/><Relationship Id="rId4" Type="http://schemas.openxmlformats.org/officeDocument/2006/relationships/tags" Target="../tags/tag166.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68.xml"/><Relationship Id="rId7" Type="http://schemas.openxmlformats.org/officeDocument/2006/relationships/image" Target="../media/image15.jpg"/><Relationship Id="rId2" Type="http://schemas.openxmlformats.org/officeDocument/2006/relationships/vmlDrawing" Target="../drawings/vmlDrawing80.vml"/><Relationship Id="rId1" Type="http://schemas.openxmlformats.org/officeDocument/2006/relationships/themeOverride" Target="../theme/themeOverride33.xml"/><Relationship Id="rId6" Type="http://schemas.openxmlformats.org/officeDocument/2006/relationships/image" Target="../media/image11.emf"/><Relationship Id="rId5" Type="http://schemas.openxmlformats.org/officeDocument/2006/relationships/oleObject" Target="../embeddings/oleObject80.bin"/><Relationship Id="rId4"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9.xml"/><Relationship Id="rId1" Type="http://schemas.openxmlformats.org/officeDocument/2006/relationships/themeOverride" Target="../theme/themeOverride34.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171.xml"/><Relationship Id="rId1" Type="http://schemas.openxmlformats.org/officeDocument/2006/relationships/vmlDrawing" Target="../drawings/vmlDrawing81.vml"/><Relationship Id="rId6" Type="http://schemas.openxmlformats.org/officeDocument/2006/relationships/image" Target="../media/image20.jpeg"/><Relationship Id="rId5" Type="http://schemas.openxmlformats.org/officeDocument/2006/relationships/image" Target="../media/image2.emf"/><Relationship Id="rId4" Type="http://schemas.openxmlformats.org/officeDocument/2006/relationships/oleObject" Target="../embeddings/oleObject81.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image" Target="../media/image1.emf"/><Relationship Id="rId2" Type="http://schemas.openxmlformats.org/officeDocument/2006/relationships/vmlDrawing" Target="../drawings/vmlDrawing82.vml"/><Relationship Id="rId1" Type="http://schemas.openxmlformats.org/officeDocument/2006/relationships/themeOverride" Target="../theme/themeOverride35.xml"/><Relationship Id="rId6" Type="http://schemas.openxmlformats.org/officeDocument/2006/relationships/oleObject" Target="../embeddings/oleObject82.bin"/><Relationship Id="rId5" Type="http://schemas.openxmlformats.org/officeDocument/2006/relationships/slideMaster" Target="../slideMasters/slideMaster2.xml"/><Relationship Id="rId4" Type="http://schemas.openxmlformats.org/officeDocument/2006/relationships/tags" Target="../tags/tag173.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vmlDrawing" Target="../drawings/vmlDrawing83.vml"/><Relationship Id="rId1" Type="http://schemas.openxmlformats.org/officeDocument/2006/relationships/themeOverride" Target="../theme/themeOverride36.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vmlDrawing" Target="../drawings/vmlDrawing84.vml"/><Relationship Id="rId1" Type="http://schemas.openxmlformats.org/officeDocument/2006/relationships/themeOverride" Target="../theme/themeOverride37.x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3.png"/><Relationship Id="rId2" Type="http://schemas.openxmlformats.org/officeDocument/2006/relationships/vmlDrawing" Target="../drawings/vmlDrawing85.vml"/><Relationship Id="rId1" Type="http://schemas.openxmlformats.org/officeDocument/2006/relationships/themeOverride" Target="../theme/themeOverride38.x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0.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3.png"/><Relationship Id="rId2" Type="http://schemas.openxmlformats.org/officeDocument/2006/relationships/vmlDrawing" Target="../drawings/vmlDrawing89.vml"/><Relationship Id="rId1" Type="http://schemas.openxmlformats.org/officeDocument/2006/relationships/themeOverride" Target="../theme/themeOverride39.x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15.jpg"/><Relationship Id="rId2" Type="http://schemas.openxmlformats.org/officeDocument/2006/relationships/vmlDrawing" Target="../drawings/vmlDrawing90.vml"/><Relationship Id="rId1" Type="http://schemas.openxmlformats.org/officeDocument/2006/relationships/themeOverride" Target="../theme/themeOverride40.x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35.xml"/><Relationship Id="rId7" Type="http://schemas.openxmlformats.org/officeDocument/2006/relationships/image" Target="../media/image3.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2.xml"/><Relationship Id="rId9" Type="http://schemas.openxmlformats.org/officeDocument/2006/relationships/image" Target="../media/image10.pn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1.emf"/><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3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11.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1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3.xml"/><Relationship Id="rId7" Type="http://schemas.openxmlformats.org/officeDocument/2006/relationships/oleObject" Target="../embeddings/oleObject24.bin"/><Relationship Id="rId2" Type="http://schemas.openxmlformats.org/officeDocument/2006/relationships/vmlDrawing" Target="../drawings/vmlDrawing24.vml"/><Relationship Id="rId1" Type="http://schemas.openxmlformats.org/officeDocument/2006/relationships/themeOverride" Target="../theme/themeOverride1.xml"/><Relationship Id="rId6" Type="http://schemas.openxmlformats.org/officeDocument/2006/relationships/slideMaster" Target="../slideMasters/slideMaster2.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12.jpg"/></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1.emf"/><Relationship Id="rId2" Type="http://schemas.openxmlformats.org/officeDocument/2006/relationships/vmlDrawing" Target="../drawings/vmlDrawing25.vml"/><Relationship Id="rId1" Type="http://schemas.openxmlformats.org/officeDocument/2006/relationships/themeOverride" Target="../theme/themeOverride2.xml"/><Relationship Id="rId6" Type="http://schemas.openxmlformats.org/officeDocument/2006/relationships/oleObject" Target="../embeddings/oleObject25.bin"/><Relationship Id="rId5" Type="http://schemas.openxmlformats.org/officeDocument/2006/relationships/slideMaster" Target="../slideMasters/slideMaster2.xml"/><Relationship Id="rId4" Type="http://schemas.openxmlformats.org/officeDocument/2006/relationships/tags" Target="../tags/tag47.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48.xml"/><Relationship Id="rId7" Type="http://schemas.openxmlformats.org/officeDocument/2006/relationships/image" Target="../media/image11.emf"/><Relationship Id="rId2" Type="http://schemas.openxmlformats.org/officeDocument/2006/relationships/vmlDrawing" Target="../drawings/vmlDrawing26.vml"/><Relationship Id="rId1" Type="http://schemas.openxmlformats.org/officeDocument/2006/relationships/themeOverride" Target="../theme/themeOverride3.xml"/><Relationship Id="rId6" Type="http://schemas.openxmlformats.org/officeDocument/2006/relationships/oleObject" Target="../embeddings/oleObject26.bin"/><Relationship Id="rId5" Type="http://schemas.openxmlformats.org/officeDocument/2006/relationships/slideMaster" Target="../slideMasters/slideMaster2.xml"/><Relationship Id="rId4" Type="http://schemas.openxmlformats.org/officeDocument/2006/relationships/tags" Target="../tags/tag49.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1.emf"/><Relationship Id="rId2" Type="http://schemas.openxmlformats.org/officeDocument/2006/relationships/vmlDrawing" Target="../drawings/vmlDrawing27.vml"/><Relationship Id="rId1" Type="http://schemas.openxmlformats.org/officeDocument/2006/relationships/themeOverride" Target="../theme/themeOverride4.xml"/><Relationship Id="rId6" Type="http://schemas.openxmlformats.org/officeDocument/2006/relationships/oleObject" Target="../embeddings/oleObject27.bin"/><Relationship Id="rId5" Type="http://schemas.openxmlformats.org/officeDocument/2006/relationships/slideMaster" Target="../slideMasters/slideMaster2.xml"/><Relationship Id="rId4" Type="http://schemas.openxmlformats.org/officeDocument/2006/relationships/tags" Target="../tags/tag51.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2.xml"/><Relationship Id="rId7" Type="http://schemas.openxmlformats.org/officeDocument/2006/relationships/image" Target="../media/image11.emf"/><Relationship Id="rId2" Type="http://schemas.openxmlformats.org/officeDocument/2006/relationships/vmlDrawing" Target="../drawings/vmlDrawing28.vml"/><Relationship Id="rId1" Type="http://schemas.openxmlformats.org/officeDocument/2006/relationships/themeOverride" Target="../theme/themeOverride5.xml"/><Relationship Id="rId6" Type="http://schemas.openxmlformats.org/officeDocument/2006/relationships/oleObject" Target="../embeddings/oleObject28.bin"/><Relationship Id="rId5" Type="http://schemas.openxmlformats.org/officeDocument/2006/relationships/slideMaster" Target="../slideMasters/slideMaster2.xml"/><Relationship Id="rId4" Type="http://schemas.openxmlformats.org/officeDocument/2006/relationships/tags" Target="../tags/tag53.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5.xml"/><Relationship Id="rId7" Type="http://schemas.openxmlformats.org/officeDocument/2006/relationships/oleObject" Target="../embeddings/oleObject29.bin"/><Relationship Id="rId2" Type="http://schemas.openxmlformats.org/officeDocument/2006/relationships/tags" Target="../tags/tag54.xml"/><Relationship Id="rId1" Type="http://schemas.openxmlformats.org/officeDocument/2006/relationships/vmlDrawing" Target="../drawings/vmlDrawing29.vml"/><Relationship Id="rId6" Type="http://schemas.openxmlformats.org/officeDocument/2006/relationships/slideMaster" Target="../slideMasters/slideMaster2.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image" Target="../media/image14.jpeg"/></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1.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1.emf"/><Relationship Id="rId2" Type="http://schemas.openxmlformats.org/officeDocument/2006/relationships/vmlDrawing" Target="../drawings/vmlDrawing31.vml"/><Relationship Id="rId1" Type="http://schemas.openxmlformats.org/officeDocument/2006/relationships/themeOverride" Target="../theme/themeOverride6.xml"/><Relationship Id="rId6" Type="http://schemas.openxmlformats.org/officeDocument/2006/relationships/oleObject" Target="../embeddings/oleObject31.bin"/><Relationship Id="rId5" Type="http://schemas.openxmlformats.org/officeDocument/2006/relationships/slideMaster" Target="../slideMasters/slideMaster2.xml"/><Relationship Id="rId4" Type="http://schemas.openxmlformats.org/officeDocument/2006/relationships/tags" Target="../tags/tag6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2.xml"/><Relationship Id="rId7" Type="http://schemas.openxmlformats.org/officeDocument/2006/relationships/oleObject" Target="../embeddings/oleObject32.bin"/><Relationship Id="rId2" Type="http://schemas.openxmlformats.org/officeDocument/2006/relationships/vmlDrawing" Target="../drawings/vmlDrawing32.vml"/><Relationship Id="rId1" Type="http://schemas.openxmlformats.org/officeDocument/2006/relationships/themeOverride" Target="../theme/themeOverride7.xml"/><Relationship Id="rId6" Type="http://schemas.openxmlformats.org/officeDocument/2006/relationships/slideMaster" Target="../slideMasters/slideMaster2.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5.xml"/><Relationship Id="rId7" Type="http://schemas.openxmlformats.org/officeDocument/2006/relationships/oleObject" Target="../embeddings/oleObject33.bin"/><Relationship Id="rId2" Type="http://schemas.openxmlformats.org/officeDocument/2006/relationships/vmlDrawing" Target="../drawings/vmlDrawing33.vml"/><Relationship Id="rId1" Type="http://schemas.openxmlformats.org/officeDocument/2006/relationships/themeOverride" Target="../theme/themeOverride8.xml"/><Relationship Id="rId6" Type="http://schemas.openxmlformats.org/officeDocument/2006/relationships/slideMaster" Target="../slideMasters/slideMaster2.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8.xml"/><Relationship Id="rId7" Type="http://schemas.openxmlformats.org/officeDocument/2006/relationships/image" Target="../media/image11.emf"/><Relationship Id="rId2" Type="http://schemas.openxmlformats.org/officeDocument/2006/relationships/vmlDrawing" Target="../drawings/vmlDrawing34.vml"/><Relationship Id="rId1" Type="http://schemas.openxmlformats.org/officeDocument/2006/relationships/themeOverride" Target="../theme/themeOverride9.xml"/><Relationship Id="rId6" Type="http://schemas.openxmlformats.org/officeDocument/2006/relationships/oleObject" Target="../embeddings/oleObject34.bin"/><Relationship Id="rId5" Type="http://schemas.openxmlformats.org/officeDocument/2006/relationships/slideMaster" Target="../slideMasters/slideMaster2.xml"/><Relationship Id="rId4" Type="http://schemas.openxmlformats.org/officeDocument/2006/relationships/tags" Target="../tags/tag69.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0.xml"/><Relationship Id="rId7" Type="http://schemas.openxmlformats.org/officeDocument/2006/relationships/image" Target="../media/image11.emf"/><Relationship Id="rId2" Type="http://schemas.openxmlformats.org/officeDocument/2006/relationships/vmlDrawing" Target="../drawings/vmlDrawing35.vml"/><Relationship Id="rId1" Type="http://schemas.openxmlformats.org/officeDocument/2006/relationships/themeOverride" Target="../theme/themeOverride10.xml"/><Relationship Id="rId6" Type="http://schemas.openxmlformats.org/officeDocument/2006/relationships/oleObject" Target="../embeddings/oleObject35.bin"/><Relationship Id="rId5" Type="http://schemas.openxmlformats.org/officeDocument/2006/relationships/slideMaster" Target="../slideMasters/slideMaster2.xml"/><Relationship Id="rId4" Type="http://schemas.openxmlformats.org/officeDocument/2006/relationships/tags" Target="../tags/tag71.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2.xml"/><Relationship Id="rId7" Type="http://schemas.openxmlformats.org/officeDocument/2006/relationships/image" Target="../media/image11.emf"/><Relationship Id="rId2" Type="http://schemas.openxmlformats.org/officeDocument/2006/relationships/vmlDrawing" Target="../drawings/vmlDrawing36.vml"/><Relationship Id="rId1" Type="http://schemas.openxmlformats.org/officeDocument/2006/relationships/themeOverride" Target="../theme/themeOverride11.xml"/><Relationship Id="rId6" Type="http://schemas.openxmlformats.org/officeDocument/2006/relationships/oleObject" Target="../embeddings/oleObject36.bin"/><Relationship Id="rId5" Type="http://schemas.openxmlformats.org/officeDocument/2006/relationships/slideMaster" Target="../slideMasters/slideMaster2.xml"/><Relationship Id="rId4" Type="http://schemas.openxmlformats.org/officeDocument/2006/relationships/tags" Target="../tags/tag73.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tags" Target="../tags/tag74.xml"/><Relationship Id="rId7" Type="http://schemas.openxmlformats.org/officeDocument/2006/relationships/image" Target="../media/image11.emf"/><Relationship Id="rId2" Type="http://schemas.openxmlformats.org/officeDocument/2006/relationships/vmlDrawing" Target="../drawings/vmlDrawing37.vml"/><Relationship Id="rId1" Type="http://schemas.openxmlformats.org/officeDocument/2006/relationships/themeOverride" Target="../theme/themeOverride12.xml"/><Relationship Id="rId6" Type="http://schemas.openxmlformats.org/officeDocument/2006/relationships/oleObject" Target="../embeddings/oleObject37.bin"/><Relationship Id="rId5"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image" Target="../media/image16.jpg"/></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6.jpg"/><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11.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tags" Target="../tags/tag78.xml"/><Relationship Id="rId7" Type="http://schemas.openxmlformats.org/officeDocument/2006/relationships/image" Target="../media/image7.emf"/><Relationship Id="rId2" Type="http://schemas.openxmlformats.org/officeDocument/2006/relationships/vmlDrawing" Target="../drawings/vmlDrawing39.vml"/><Relationship Id="rId1" Type="http://schemas.openxmlformats.org/officeDocument/2006/relationships/themeOverride" Target="../theme/themeOverride13.xml"/><Relationship Id="rId6" Type="http://schemas.openxmlformats.org/officeDocument/2006/relationships/oleObject" Target="../embeddings/oleObject39.bin"/><Relationship Id="rId5" Type="http://schemas.openxmlformats.org/officeDocument/2006/relationships/slideMaster" Target="../slideMasters/slideMaster2.xml"/><Relationship Id="rId4" Type="http://schemas.openxmlformats.org/officeDocument/2006/relationships/tags" Target="../tags/tag79.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7.jpg"/><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11.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82.xml"/><Relationship Id="rId7" Type="http://schemas.openxmlformats.org/officeDocument/2006/relationships/oleObject" Target="../embeddings/oleObject41.bin"/><Relationship Id="rId2" Type="http://schemas.openxmlformats.org/officeDocument/2006/relationships/vmlDrawing" Target="../drawings/vmlDrawing41.vml"/><Relationship Id="rId1" Type="http://schemas.openxmlformats.org/officeDocument/2006/relationships/themeOverride" Target="../theme/themeOverride14.xml"/><Relationship Id="rId6" Type="http://schemas.openxmlformats.org/officeDocument/2006/relationships/slideMaster" Target="../slideMasters/slideMaster2.xml"/><Relationship Id="rId5" Type="http://schemas.openxmlformats.org/officeDocument/2006/relationships/tags" Target="../tags/tag84.xml"/><Relationship Id="rId4" Type="http://schemas.openxmlformats.org/officeDocument/2006/relationships/tags" Target="../tags/tag83.xml"/><Relationship Id="rId9" Type="http://schemas.openxmlformats.org/officeDocument/2006/relationships/image" Target="../media/image15.jp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8.jpg"/><Relationship Id="rId2" Type="http://schemas.openxmlformats.org/officeDocument/2006/relationships/tags" Target="../tags/tag85.xml"/><Relationship Id="rId1" Type="http://schemas.openxmlformats.org/officeDocument/2006/relationships/vmlDrawing" Target="../drawings/vmlDrawing42.vml"/><Relationship Id="rId6" Type="http://schemas.openxmlformats.org/officeDocument/2006/relationships/image" Target="../media/image11.emf"/><Relationship Id="rId5" Type="http://schemas.openxmlformats.org/officeDocument/2006/relationships/oleObject" Target="../embeddings/oleObject42.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87.xml"/><Relationship Id="rId7" Type="http://schemas.openxmlformats.org/officeDocument/2006/relationships/oleObject" Target="../embeddings/oleObject43.bin"/><Relationship Id="rId2" Type="http://schemas.openxmlformats.org/officeDocument/2006/relationships/vmlDrawing" Target="../drawings/vmlDrawing43.vml"/><Relationship Id="rId1" Type="http://schemas.openxmlformats.org/officeDocument/2006/relationships/themeOverride" Target="../theme/themeOverride15.xml"/><Relationship Id="rId6" Type="http://schemas.openxmlformats.org/officeDocument/2006/relationships/slideMaster" Target="../slideMasters/slideMaster2.xml"/><Relationship Id="rId5" Type="http://schemas.openxmlformats.org/officeDocument/2006/relationships/tags" Target="../tags/tag89.xml"/><Relationship Id="rId4" Type="http://schemas.openxmlformats.org/officeDocument/2006/relationships/tags" Target="../tags/tag88.xml"/><Relationship Id="rId9" Type="http://schemas.openxmlformats.org/officeDocument/2006/relationships/image" Target="../media/image15.jpg"/></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9.jpg"/><Relationship Id="rId2" Type="http://schemas.openxmlformats.org/officeDocument/2006/relationships/tags" Target="../tags/tag90.xml"/><Relationship Id="rId1" Type="http://schemas.openxmlformats.org/officeDocument/2006/relationships/vmlDrawing" Target="../drawings/vmlDrawing44.vml"/><Relationship Id="rId6" Type="http://schemas.openxmlformats.org/officeDocument/2006/relationships/image" Target="../media/image11.emf"/><Relationship Id="rId5" Type="http://schemas.openxmlformats.org/officeDocument/2006/relationships/oleObject" Target="../embeddings/oleObject44.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1.emf"/><Relationship Id="rId2" Type="http://schemas.openxmlformats.org/officeDocument/2006/relationships/vmlDrawing" Target="../drawings/vmlDrawing45.vml"/><Relationship Id="rId1" Type="http://schemas.openxmlformats.org/officeDocument/2006/relationships/themeOverride" Target="../theme/themeOverride16.xml"/><Relationship Id="rId6" Type="http://schemas.openxmlformats.org/officeDocument/2006/relationships/oleObject" Target="../embeddings/oleObject45.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46.vml"/><Relationship Id="rId6" Type="http://schemas.openxmlformats.org/officeDocument/2006/relationships/image" Target="../media/image11.e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3.png"/><Relationship Id="rId2" Type="http://schemas.openxmlformats.org/officeDocument/2006/relationships/vmlDrawing" Target="../drawings/vmlDrawing47.vml"/><Relationship Id="rId1" Type="http://schemas.openxmlformats.org/officeDocument/2006/relationships/themeOverride" Target="../theme/themeOverride17.xml"/><Relationship Id="rId6" Type="http://schemas.openxmlformats.org/officeDocument/2006/relationships/image" Target="../media/image7.emf"/><Relationship Id="rId5" Type="http://schemas.openxmlformats.org/officeDocument/2006/relationships/oleObject" Target="../embeddings/oleObject47.bin"/><Relationship Id="rId4"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97.xml"/><Relationship Id="rId7" Type="http://schemas.openxmlformats.org/officeDocument/2006/relationships/oleObject" Target="../embeddings/oleObject48.bin"/><Relationship Id="rId2" Type="http://schemas.openxmlformats.org/officeDocument/2006/relationships/vmlDrawing" Target="../drawings/vmlDrawing48.vml"/><Relationship Id="rId1" Type="http://schemas.openxmlformats.org/officeDocument/2006/relationships/themeOverride" Target="../theme/themeOverride18.xml"/><Relationship Id="rId6" Type="http://schemas.openxmlformats.org/officeDocument/2006/relationships/slideMaster" Target="../slideMasters/slideMaster2.xml"/><Relationship Id="rId5" Type="http://schemas.openxmlformats.org/officeDocument/2006/relationships/tags" Target="../tags/tag99.xml"/><Relationship Id="rId4" Type="http://schemas.openxmlformats.org/officeDocument/2006/relationships/tags" Target="../tags/tag98.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0.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hemeOverride" Target="../theme/themeOverride1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6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45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6"/>
          <a:stretch>
            <a:fillRect/>
          </a:stretch>
        </p:blipFill>
        <p:spPr>
          <a:xfrm>
            <a:off x="0" y="0"/>
            <a:ext cx="12192000" cy="6858000"/>
          </a:xfrm>
          <a:prstGeom prst="rect">
            <a:avLst/>
          </a:prstGeom>
        </p:spPr>
      </p:pic>
      <p:sp>
        <p:nvSpPr>
          <p:cNvPr id="21" name="object 4"/>
          <p:cNvSpPr/>
          <p:nvPr userDrawn="1"/>
        </p:nvSpPr>
        <p:spPr>
          <a:xfrm>
            <a:off x="0" y="3075432"/>
            <a:ext cx="2226945" cy="0"/>
          </a:xfrm>
          <a:custGeom>
            <a:avLst/>
            <a:gdLst/>
            <a:ahLst/>
            <a:cxnLst/>
            <a:rect l="l" t="t" r="r" b="b"/>
            <a:pathLst>
              <a:path w="2226945">
                <a:moveTo>
                  <a:pt x="0" y="0"/>
                </a:moveTo>
                <a:lnTo>
                  <a:pt x="2226564" y="0"/>
                </a:lnTo>
              </a:path>
            </a:pathLst>
          </a:custGeom>
          <a:ln w="6096">
            <a:solidFill>
              <a:srgbClr val="435264"/>
            </a:solidFill>
          </a:ln>
        </p:spPr>
        <p:txBody>
          <a:bodyPr wrap="square" lIns="0" tIns="0" rIns="0" bIns="0" rtlCol="0"/>
          <a:lstStyle/>
          <a:p>
            <a:endParaRPr/>
          </a:p>
        </p:txBody>
      </p:sp>
      <p:sp>
        <p:nvSpPr>
          <p:cNvPr id="22" name="object 6"/>
          <p:cNvSpPr/>
          <p:nvPr userDrawn="1"/>
        </p:nvSpPr>
        <p:spPr>
          <a:xfrm>
            <a:off x="2226564" y="0"/>
            <a:ext cx="3349625" cy="3076575"/>
          </a:xfrm>
          <a:custGeom>
            <a:avLst/>
            <a:gdLst/>
            <a:ahLst/>
            <a:cxnLst/>
            <a:rect l="l" t="t" r="r" b="b"/>
            <a:pathLst>
              <a:path w="3349625" h="3076575">
                <a:moveTo>
                  <a:pt x="0" y="3076321"/>
                </a:moveTo>
                <a:lnTo>
                  <a:pt x="3349116" y="0"/>
                </a:lnTo>
              </a:path>
            </a:pathLst>
          </a:custGeom>
          <a:ln w="6095">
            <a:solidFill>
              <a:srgbClr val="A0CD39"/>
            </a:solidFill>
          </a:ln>
        </p:spPr>
        <p:txBody>
          <a:bodyPr wrap="square" lIns="0" tIns="0" rIns="0" bIns="0" rtlCol="0"/>
          <a:lstStyle/>
          <a:p>
            <a:endParaRPr/>
          </a:p>
        </p:txBody>
      </p:sp>
      <p:sp>
        <p:nvSpPr>
          <p:cNvPr id="23" name="object 7"/>
          <p:cNvSpPr/>
          <p:nvPr userDrawn="1"/>
        </p:nvSpPr>
        <p:spPr>
          <a:xfrm>
            <a:off x="627887" y="621791"/>
            <a:ext cx="459105" cy="528955"/>
          </a:xfrm>
          <a:custGeom>
            <a:avLst/>
            <a:gdLst/>
            <a:ahLst/>
            <a:cxnLst/>
            <a:rect l="l" t="t" r="r" b="b"/>
            <a:pathLst>
              <a:path w="459105" h="528955">
                <a:moveTo>
                  <a:pt x="160917" y="426847"/>
                </a:moveTo>
                <a:lnTo>
                  <a:pt x="50647" y="426847"/>
                </a:lnTo>
                <a:lnTo>
                  <a:pt x="53263" y="427990"/>
                </a:lnTo>
                <a:lnTo>
                  <a:pt x="53555" y="427990"/>
                </a:lnTo>
                <a:lnTo>
                  <a:pt x="53555" y="428244"/>
                </a:lnTo>
                <a:lnTo>
                  <a:pt x="55016" y="428879"/>
                </a:lnTo>
                <a:lnTo>
                  <a:pt x="225107" y="527558"/>
                </a:lnTo>
                <a:lnTo>
                  <a:pt x="225691" y="527938"/>
                </a:lnTo>
                <a:lnTo>
                  <a:pt x="226872" y="528447"/>
                </a:lnTo>
                <a:lnTo>
                  <a:pt x="228307" y="528828"/>
                </a:lnTo>
                <a:lnTo>
                  <a:pt x="230962" y="528828"/>
                </a:lnTo>
                <a:lnTo>
                  <a:pt x="232422" y="528447"/>
                </a:lnTo>
                <a:lnTo>
                  <a:pt x="233286" y="528193"/>
                </a:lnTo>
                <a:lnTo>
                  <a:pt x="233578" y="528193"/>
                </a:lnTo>
                <a:lnTo>
                  <a:pt x="233578" y="527938"/>
                </a:lnTo>
                <a:lnTo>
                  <a:pt x="234467" y="527304"/>
                </a:lnTo>
                <a:lnTo>
                  <a:pt x="341349" y="465328"/>
                </a:lnTo>
                <a:lnTo>
                  <a:pt x="228015" y="465328"/>
                </a:lnTo>
                <a:lnTo>
                  <a:pt x="226542" y="465074"/>
                </a:lnTo>
                <a:lnTo>
                  <a:pt x="225399" y="464185"/>
                </a:lnTo>
                <a:lnTo>
                  <a:pt x="225107" y="464185"/>
                </a:lnTo>
                <a:lnTo>
                  <a:pt x="225107" y="463931"/>
                </a:lnTo>
                <a:lnTo>
                  <a:pt x="160917" y="426847"/>
                </a:lnTo>
                <a:close/>
              </a:path>
              <a:path w="459105" h="528955">
                <a:moveTo>
                  <a:pt x="458685" y="120396"/>
                </a:moveTo>
                <a:lnTo>
                  <a:pt x="399859" y="120396"/>
                </a:lnTo>
                <a:lnTo>
                  <a:pt x="403669" y="123825"/>
                </a:lnTo>
                <a:lnTo>
                  <a:pt x="403948" y="128524"/>
                </a:lnTo>
                <a:lnTo>
                  <a:pt x="403948" y="360807"/>
                </a:lnTo>
                <a:lnTo>
                  <a:pt x="403669" y="360807"/>
                </a:lnTo>
                <a:lnTo>
                  <a:pt x="403669" y="363728"/>
                </a:lnTo>
                <a:lnTo>
                  <a:pt x="402475" y="366268"/>
                </a:lnTo>
                <a:lnTo>
                  <a:pt x="400151" y="367792"/>
                </a:lnTo>
                <a:lnTo>
                  <a:pt x="399542" y="368046"/>
                </a:lnTo>
                <a:lnTo>
                  <a:pt x="399249" y="368427"/>
                </a:lnTo>
                <a:lnTo>
                  <a:pt x="398678" y="368681"/>
                </a:lnTo>
                <a:lnTo>
                  <a:pt x="234467" y="463931"/>
                </a:lnTo>
                <a:lnTo>
                  <a:pt x="234187" y="464185"/>
                </a:lnTo>
                <a:lnTo>
                  <a:pt x="233895" y="464185"/>
                </a:lnTo>
                <a:lnTo>
                  <a:pt x="233286" y="464438"/>
                </a:lnTo>
                <a:lnTo>
                  <a:pt x="232105" y="465074"/>
                </a:lnTo>
                <a:lnTo>
                  <a:pt x="230962" y="465328"/>
                </a:lnTo>
                <a:lnTo>
                  <a:pt x="341349" y="465328"/>
                </a:lnTo>
                <a:lnTo>
                  <a:pt x="453707" y="400177"/>
                </a:lnTo>
                <a:lnTo>
                  <a:pt x="455168" y="399669"/>
                </a:lnTo>
                <a:lnTo>
                  <a:pt x="457212" y="397891"/>
                </a:lnTo>
                <a:lnTo>
                  <a:pt x="458685" y="395224"/>
                </a:lnTo>
                <a:lnTo>
                  <a:pt x="458685" y="120396"/>
                </a:lnTo>
                <a:close/>
              </a:path>
              <a:path w="459105" h="528955">
                <a:moveTo>
                  <a:pt x="225107" y="1143"/>
                </a:moveTo>
                <a:lnTo>
                  <a:pt x="4699" y="129159"/>
                </a:lnTo>
                <a:lnTo>
                  <a:pt x="4381" y="129159"/>
                </a:lnTo>
                <a:lnTo>
                  <a:pt x="4381" y="129412"/>
                </a:lnTo>
                <a:lnTo>
                  <a:pt x="4089" y="129412"/>
                </a:lnTo>
                <a:lnTo>
                  <a:pt x="1752" y="130937"/>
                </a:lnTo>
                <a:lnTo>
                  <a:pt x="0" y="133858"/>
                </a:lnTo>
                <a:lnTo>
                  <a:pt x="0" y="453136"/>
                </a:lnTo>
                <a:lnTo>
                  <a:pt x="3797" y="456946"/>
                </a:lnTo>
                <a:lnTo>
                  <a:pt x="10833" y="456946"/>
                </a:lnTo>
                <a:lnTo>
                  <a:pt x="12585" y="456057"/>
                </a:lnTo>
                <a:lnTo>
                  <a:pt x="14351" y="454913"/>
                </a:lnTo>
                <a:lnTo>
                  <a:pt x="14630" y="454533"/>
                </a:lnTo>
                <a:lnTo>
                  <a:pt x="43332" y="429133"/>
                </a:lnTo>
                <a:lnTo>
                  <a:pt x="44805" y="427736"/>
                </a:lnTo>
                <a:lnTo>
                  <a:pt x="46850" y="426847"/>
                </a:lnTo>
                <a:lnTo>
                  <a:pt x="160917" y="426847"/>
                </a:lnTo>
                <a:lnTo>
                  <a:pt x="129042" y="408432"/>
                </a:lnTo>
                <a:lnTo>
                  <a:pt x="58826" y="408432"/>
                </a:lnTo>
                <a:lnTo>
                  <a:pt x="55016" y="404368"/>
                </a:lnTo>
                <a:lnTo>
                  <a:pt x="55016" y="167640"/>
                </a:lnTo>
                <a:lnTo>
                  <a:pt x="55308" y="165100"/>
                </a:lnTo>
                <a:lnTo>
                  <a:pt x="56781" y="162687"/>
                </a:lnTo>
                <a:lnTo>
                  <a:pt x="58826" y="161544"/>
                </a:lnTo>
                <a:lnTo>
                  <a:pt x="59105" y="161290"/>
                </a:lnTo>
                <a:lnTo>
                  <a:pt x="59436" y="161036"/>
                </a:lnTo>
                <a:lnTo>
                  <a:pt x="59715" y="161036"/>
                </a:lnTo>
                <a:lnTo>
                  <a:pt x="225107" y="65150"/>
                </a:lnTo>
                <a:lnTo>
                  <a:pt x="226542" y="64262"/>
                </a:lnTo>
                <a:lnTo>
                  <a:pt x="228015" y="63754"/>
                </a:lnTo>
                <a:lnTo>
                  <a:pt x="341798" y="63754"/>
                </a:lnTo>
                <a:lnTo>
                  <a:pt x="234187" y="1524"/>
                </a:lnTo>
                <a:lnTo>
                  <a:pt x="225107" y="1524"/>
                </a:lnTo>
                <a:lnTo>
                  <a:pt x="225107" y="1143"/>
                </a:lnTo>
                <a:close/>
              </a:path>
              <a:path w="459105" h="528955">
                <a:moveTo>
                  <a:pt x="93649" y="388493"/>
                </a:moveTo>
                <a:lnTo>
                  <a:pt x="90170" y="388493"/>
                </a:lnTo>
                <a:lnTo>
                  <a:pt x="88087" y="389382"/>
                </a:lnTo>
                <a:lnTo>
                  <a:pt x="86664" y="390906"/>
                </a:lnTo>
                <a:lnTo>
                  <a:pt x="69938" y="405511"/>
                </a:lnTo>
                <a:lnTo>
                  <a:pt x="69659" y="406019"/>
                </a:lnTo>
                <a:lnTo>
                  <a:pt x="69088" y="406400"/>
                </a:lnTo>
                <a:lnTo>
                  <a:pt x="68795" y="406654"/>
                </a:lnTo>
                <a:lnTo>
                  <a:pt x="67322" y="407543"/>
                </a:lnTo>
                <a:lnTo>
                  <a:pt x="65570" y="408432"/>
                </a:lnTo>
                <a:lnTo>
                  <a:pt x="129042" y="408432"/>
                </a:lnTo>
                <a:lnTo>
                  <a:pt x="97167" y="390017"/>
                </a:lnTo>
                <a:lnTo>
                  <a:pt x="96304" y="389382"/>
                </a:lnTo>
                <a:lnTo>
                  <a:pt x="95123" y="388874"/>
                </a:lnTo>
                <a:lnTo>
                  <a:pt x="93649" y="388493"/>
                </a:lnTo>
                <a:close/>
              </a:path>
              <a:path w="459105" h="528955">
                <a:moveTo>
                  <a:pt x="341798" y="63754"/>
                </a:moveTo>
                <a:lnTo>
                  <a:pt x="231241" y="63754"/>
                </a:lnTo>
                <a:lnTo>
                  <a:pt x="232714" y="64262"/>
                </a:lnTo>
                <a:lnTo>
                  <a:pt x="233895" y="64897"/>
                </a:lnTo>
                <a:lnTo>
                  <a:pt x="361200" y="138811"/>
                </a:lnTo>
                <a:lnTo>
                  <a:pt x="362381" y="139319"/>
                </a:lnTo>
                <a:lnTo>
                  <a:pt x="363562" y="139954"/>
                </a:lnTo>
                <a:lnTo>
                  <a:pt x="365036" y="140208"/>
                </a:lnTo>
                <a:lnTo>
                  <a:pt x="368223" y="140208"/>
                </a:lnTo>
                <a:lnTo>
                  <a:pt x="369989" y="139700"/>
                </a:lnTo>
                <a:lnTo>
                  <a:pt x="371449" y="138430"/>
                </a:lnTo>
                <a:lnTo>
                  <a:pt x="372643" y="137668"/>
                </a:lnTo>
                <a:lnTo>
                  <a:pt x="389318" y="122682"/>
                </a:lnTo>
                <a:lnTo>
                  <a:pt x="390791" y="121285"/>
                </a:lnTo>
                <a:lnTo>
                  <a:pt x="392836" y="120396"/>
                </a:lnTo>
                <a:lnTo>
                  <a:pt x="458685" y="120396"/>
                </a:lnTo>
                <a:lnTo>
                  <a:pt x="458685" y="101727"/>
                </a:lnTo>
                <a:lnTo>
                  <a:pt x="408330" y="101727"/>
                </a:lnTo>
                <a:lnTo>
                  <a:pt x="406857" y="101346"/>
                </a:lnTo>
                <a:lnTo>
                  <a:pt x="405714" y="100837"/>
                </a:lnTo>
                <a:lnTo>
                  <a:pt x="405422" y="100457"/>
                </a:lnTo>
                <a:lnTo>
                  <a:pt x="405130" y="100457"/>
                </a:lnTo>
                <a:lnTo>
                  <a:pt x="405130" y="100203"/>
                </a:lnTo>
                <a:lnTo>
                  <a:pt x="403948" y="99695"/>
                </a:lnTo>
                <a:lnTo>
                  <a:pt x="341798" y="63754"/>
                </a:lnTo>
                <a:close/>
              </a:path>
              <a:path w="459105" h="528955">
                <a:moveTo>
                  <a:pt x="454888" y="71628"/>
                </a:moveTo>
                <a:lnTo>
                  <a:pt x="447852" y="71628"/>
                </a:lnTo>
                <a:lnTo>
                  <a:pt x="445808" y="72517"/>
                </a:lnTo>
                <a:lnTo>
                  <a:pt x="444334" y="73913"/>
                </a:lnTo>
                <a:lnTo>
                  <a:pt x="415645" y="99060"/>
                </a:lnTo>
                <a:lnTo>
                  <a:pt x="415645" y="99313"/>
                </a:lnTo>
                <a:lnTo>
                  <a:pt x="415353" y="99695"/>
                </a:lnTo>
                <a:lnTo>
                  <a:pt x="415074" y="99949"/>
                </a:lnTo>
                <a:lnTo>
                  <a:pt x="413600" y="101092"/>
                </a:lnTo>
                <a:lnTo>
                  <a:pt x="411556" y="101727"/>
                </a:lnTo>
                <a:lnTo>
                  <a:pt x="458685" y="101727"/>
                </a:lnTo>
                <a:lnTo>
                  <a:pt x="458685" y="75692"/>
                </a:lnTo>
                <a:lnTo>
                  <a:pt x="454888" y="71628"/>
                </a:lnTo>
                <a:close/>
              </a:path>
              <a:path w="459105" h="528955">
                <a:moveTo>
                  <a:pt x="231241" y="0"/>
                </a:moveTo>
                <a:lnTo>
                  <a:pt x="228015" y="0"/>
                </a:lnTo>
                <a:lnTo>
                  <a:pt x="226542" y="635"/>
                </a:lnTo>
                <a:lnTo>
                  <a:pt x="225107" y="1524"/>
                </a:lnTo>
                <a:lnTo>
                  <a:pt x="234187" y="1524"/>
                </a:lnTo>
                <a:lnTo>
                  <a:pt x="233895" y="1143"/>
                </a:lnTo>
                <a:lnTo>
                  <a:pt x="231241" y="0"/>
                </a:lnTo>
                <a:close/>
              </a:path>
            </a:pathLst>
          </a:custGeom>
          <a:solidFill>
            <a:srgbClr val="FFFFFF"/>
          </a:solidFill>
        </p:spPr>
        <p:txBody>
          <a:bodyPr wrap="square" lIns="0" tIns="0" rIns="0" bIns="0" rtlCol="0"/>
          <a:lstStyle/>
          <a:p>
            <a:endParaRPr/>
          </a:p>
        </p:txBody>
      </p:sp>
      <p:sp>
        <p:nvSpPr>
          <p:cNvPr id="24" name="object 8"/>
          <p:cNvSpPr/>
          <p:nvPr userDrawn="1"/>
        </p:nvSpPr>
        <p:spPr>
          <a:xfrm>
            <a:off x="1187196" y="723900"/>
            <a:ext cx="443484" cy="286512"/>
          </a:xfrm>
          <a:prstGeom prst="rect">
            <a:avLst/>
          </a:prstGeom>
          <a:blipFill>
            <a:blip r:embed="rId7" cstate="print"/>
            <a:stretch>
              <a:fillRect/>
            </a:stretch>
          </a:blipFill>
        </p:spPr>
        <p:txBody>
          <a:bodyPr wrap="square" lIns="0" tIns="0" rIns="0" bIns="0" rtlCol="0"/>
          <a:lstStyle/>
          <a:p>
            <a:endParaRPr/>
          </a:p>
        </p:txBody>
      </p:sp>
      <p:sp>
        <p:nvSpPr>
          <p:cNvPr id="25" name="object 9"/>
          <p:cNvSpPr txBox="1"/>
          <p:nvPr userDrawn="1"/>
        </p:nvSpPr>
        <p:spPr>
          <a:xfrm>
            <a:off x="10129773" y="6044285"/>
            <a:ext cx="1394460" cy="147955"/>
          </a:xfrm>
          <a:prstGeom prst="rect">
            <a:avLst/>
          </a:prstGeom>
        </p:spPr>
        <p:txBody>
          <a:bodyPr vert="horz" wrap="square" lIns="0" tIns="12700" rIns="0" bIns="0" rtlCol="0">
            <a:spAutoFit/>
          </a:bodyPr>
          <a:lstStyle/>
          <a:p>
            <a:pPr marL="12700">
              <a:lnSpc>
                <a:spcPct val="100000"/>
              </a:lnSpc>
              <a:spcBef>
                <a:spcPts val="100"/>
              </a:spcBef>
            </a:pPr>
            <a:r>
              <a:rPr sz="800" dirty="0">
                <a:solidFill>
                  <a:srgbClr val="FFFFFF"/>
                </a:solidFill>
                <a:latin typeface="Century Gothic"/>
                <a:cs typeface="Century Gothic"/>
              </a:rPr>
              <a:t>I M A G I N E B E Y O N</a:t>
            </a:r>
            <a:r>
              <a:rPr sz="800" spc="15" dirty="0">
                <a:solidFill>
                  <a:srgbClr val="FFFFFF"/>
                </a:solidFill>
                <a:latin typeface="Century Gothic"/>
                <a:cs typeface="Century Gothic"/>
              </a:rPr>
              <a:t> </a:t>
            </a:r>
            <a:r>
              <a:rPr sz="800" dirty="0">
                <a:solidFill>
                  <a:srgbClr val="FFFFFF"/>
                </a:solidFill>
                <a:latin typeface="Century Gothic"/>
                <a:cs typeface="Century Gothic"/>
              </a:rPr>
              <a:t>D</a:t>
            </a:r>
            <a:endParaRPr sz="800">
              <a:latin typeface="Century Gothic"/>
              <a:cs typeface="Century Gothic"/>
            </a:endParaRPr>
          </a:p>
        </p:txBody>
      </p:sp>
      <p:sp>
        <p:nvSpPr>
          <p:cNvPr id="26" name="object 10"/>
          <p:cNvSpPr txBox="1"/>
          <p:nvPr userDrawn="1"/>
        </p:nvSpPr>
        <p:spPr>
          <a:xfrm>
            <a:off x="610311" y="5055463"/>
            <a:ext cx="1780539" cy="705485"/>
          </a:xfrm>
          <a:prstGeom prst="rect">
            <a:avLst/>
          </a:prstGeom>
        </p:spPr>
        <p:txBody>
          <a:bodyPr vert="horz" wrap="square" lIns="0" tIns="71755" rIns="0" bIns="0" rtlCol="0">
            <a:spAutoFit/>
          </a:bodyPr>
          <a:lstStyle/>
          <a:p>
            <a:pPr marL="12700">
              <a:lnSpc>
                <a:spcPct val="100000"/>
              </a:lnSpc>
              <a:spcBef>
                <a:spcPts val="565"/>
              </a:spcBef>
            </a:pPr>
            <a:r>
              <a:rPr sz="1100" b="1" dirty="0">
                <a:solidFill>
                  <a:srgbClr val="FFFFFF"/>
                </a:solidFill>
                <a:latin typeface="Century Gothic"/>
                <a:cs typeface="Century Gothic"/>
              </a:rPr>
              <a:t>BCG Digital</a:t>
            </a:r>
            <a:r>
              <a:rPr sz="1100" b="1" spc="-40" dirty="0">
                <a:solidFill>
                  <a:srgbClr val="FFFFFF"/>
                </a:solidFill>
                <a:latin typeface="Century Gothic"/>
                <a:cs typeface="Century Gothic"/>
              </a:rPr>
              <a:t> </a:t>
            </a:r>
            <a:r>
              <a:rPr sz="1100" b="1" spc="-5" dirty="0">
                <a:solidFill>
                  <a:srgbClr val="FFFFFF"/>
                </a:solidFill>
                <a:latin typeface="Century Gothic"/>
                <a:cs typeface="Century Gothic"/>
              </a:rPr>
              <a:t>Ventures</a:t>
            </a:r>
            <a:endParaRPr sz="1100">
              <a:latin typeface="Century Gothic"/>
              <a:cs typeface="Century Gothic"/>
            </a:endParaRPr>
          </a:p>
          <a:p>
            <a:pPr marL="12700" marR="5080">
              <a:lnSpc>
                <a:spcPct val="134600"/>
              </a:lnSpc>
              <a:spcBef>
                <a:spcPts val="10"/>
              </a:spcBef>
            </a:pPr>
            <a:r>
              <a:rPr sz="1100" spc="-5" dirty="0">
                <a:solidFill>
                  <a:srgbClr val="FFFFFF"/>
                </a:solidFill>
                <a:latin typeface="Century Gothic"/>
                <a:cs typeface="Century Gothic"/>
              </a:rPr>
              <a:t>1240 </a:t>
            </a:r>
            <a:r>
              <a:rPr sz="1100" dirty="0">
                <a:solidFill>
                  <a:srgbClr val="FFFFFF"/>
                </a:solidFill>
                <a:latin typeface="Century Gothic"/>
                <a:cs typeface="Century Gothic"/>
              </a:rPr>
              <a:t>Rosecrans </a:t>
            </a:r>
            <a:r>
              <a:rPr sz="1100" spc="-5" dirty="0">
                <a:solidFill>
                  <a:srgbClr val="FFFFFF"/>
                </a:solidFill>
                <a:latin typeface="Century Gothic"/>
                <a:cs typeface="Century Gothic"/>
              </a:rPr>
              <a:t>Ave.</a:t>
            </a:r>
            <a:r>
              <a:rPr sz="1100" spc="-114" dirty="0">
                <a:solidFill>
                  <a:srgbClr val="FFFFFF"/>
                </a:solidFill>
                <a:latin typeface="Century Gothic"/>
                <a:cs typeface="Century Gothic"/>
              </a:rPr>
              <a:t> </a:t>
            </a:r>
            <a:r>
              <a:rPr sz="1100" spc="-5" dirty="0">
                <a:solidFill>
                  <a:srgbClr val="FFFFFF"/>
                </a:solidFill>
                <a:latin typeface="Century Gothic"/>
                <a:cs typeface="Century Gothic"/>
              </a:rPr>
              <a:t>#500  Manhattan </a:t>
            </a:r>
            <a:r>
              <a:rPr sz="1100" dirty="0">
                <a:solidFill>
                  <a:srgbClr val="FFFFFF"/>
                </a:solidFill>
                <a:latin typeface="Century Gothic"/>
                <a:cs typeface="Century Gothic"/>
              </a:rPr>
              <a:t>Beach,</a:t>
            </a:r>
            <a:r>
              <a:rPr sz="1100" spc="-45" dirty="0">
                <a:solidFill>
                  <a:srgbClr val="FFFFFF"/>
                </a:solidFill>
                <a:latin typeface="Century Gothic"/>
                <a:cs typeface="Century Gothic"/>
              </a:rPr>
              <a:t> </a:t>
            </a:r>
            <a:r>
              <a:rPr sz="1100" dirty="0">
                <a:solidFill>
                  <a:srgbClr val="FFFFFF"/>
                </a:solidFill>
                <a:latin typeface="Century Gothic"/>
                <a:cs typeface="Century Gothic"/>
              </a:rPr>
              <a:t>CA</a:t>
            </a:r>
            <a:endParaRPr sz="1100">
              <a:latin typeface="Century Gothic"/>
              <a:cs typeface="Century Gothic"/>
            </a:endParaRPr>
          </a:p>
        </p:txBody>
      </p:sp>
      <p:sp>
        <p:nvSpPr>
          <p:cNvPr id="27" name="object 11"/>
          <p:cNvSpPr txBox="1"/>
          <p:nvPr userDrawn="1"/>
        </p:nvSpPr>
        <p:spPr>
          <a:xfrm>
            <a:off x="610311" y="6019901"/>
            <a:ext cx="1925320" cy="193675"/>
          </a:xfrm>
          <a:prstGeom prst="rect">
            <a:avLst/>
          </a:prstGeom>
        </p:spPr>
        <p:txBody>
          <a:bodyPr vert="horz" wrap="square" lIns="0" tIns="12700" rIns="0" bIns="0" rtlCol="0">
            <a:spAutoFit/>
          </a:bodyPr>
          <a:lstStyle/>
          <a:p>
            <a:pPr marL="12700">
              <a:lnSpc>
                <a:spcPct val="100000"/>
              </a:lnSpc>
              <a:spcBef>
                <a:spcPts val="100"/>
              </a:spcBef>
            </a:pPr>
            <a:r>
              <a:rPr sz="1100" dirty="0">
                <a:solidFill>
                  <a:srgbClr val="FFFFFF"/>
                </a:solidFill>
                <a:latin typeface="Century Gothic"/>
                <a:cs typeface="Century Gothic"/>
              </a:rPr>
              <a:t>+310-698-1200 /</a:t>
            </a:r>
            <a:r>
              <a:rPr sz="1100" spc="-100" dirty="0">
                <a:solidFill>
                  <a:srgbClr val="FFFFFF"/>
                </a:solidFill>
                <a:latin typeface="Century Gothic"/>
                <a:cs typeface="Century Gothic"/>
              </a:rPr>
              <a:t> </a:t>
            </a:r>
            <a:r>
              <a:rPr sz="1100" dirty="0">
                <a:solidFill>
                  <a:srgbClr val="FFFFFF"/>
                </a:solidFill>
                <a:latin typeface="Century Gothic"/>
                <a:cs typeface="Century Gothic"/>
              </a:rPr>
              <a:t>bcgdv.com</a:t>
            </a:r>
            <a:endParaRPr sz="1100">
              <a:latin typeface="Century Gothic"/>
              <a:cs typeface="Century Gothic"/>
            </a:endParaRPr>
          </a:p>
        </p:txBody>
      </p:sp>
      <p:sp>
        <p:nvSpPr>
          <p:cNvPr id="28" name="object 12"/>
          <p:cNvSpPr txBox="1"/>
          <p:nvPr userDrawn="1"/>
        </p:nvSpPr>
        <p:spPr>
          <a:xfrm>
            <a:off x="610311" y="3528896"/>
            <a:ext cx="2932430" cy="1102360"/>
          </a:xfrm>
          <a:prstGeom prst="rect">
            <a:avLst/>
          </a:prstGeom>
        </p:spPr>
        <p:txBody>
          <a:bodyPr vert="horz" wrap="square" lIns="0" tIns="12700" rIns="0" bIns="0" rtlCol="0">
            <a:spAutoFit/>
          </a:bodyPr>
          <a:lstStyle/>
          <a:p>
            <a:pPr marL="12700" marR="5080">
              <a:lnSpc>
                <a:spcPct val="110400"/>
              </a:lnSpc>
              <a:spcBef>
                <a:spcPts val="100"/>
              </a:spcBef>
            </a:pPr>
            <a:r>
              <a:rPr sz="3200" dirty="0">
                <a:solidFill>
                  <a:srgbClr val="FFFFFF"/>
                </a:solidFill>
                <a:latin typeface="Century Gothic"/>
                <a:cs typeface="Century Gothic"/>
              </a:rPr>
              <a:t>Let’s go get  our hands</a:t>
            </a:r>
            <a:r>
              <a:rPr sz="3200" spc="-110" dirty="0">
                <a:solidFill>
                  <a:srgbClr val="FFFFFF"/>
                </a:solidFill>
                <a:latin typeface="Century Gothic"/>
                <a:cs typeface="Century Gothic"/>
              </a:rPr>
              <a:t> </a:t>
            </a:r>
            <a:r>
              <a:rPr sz="3200" spc="-5" dirty="0">
                <a:solidFill>
                  <a:srgbClr val="FFFFFF"/>
                </a:solidFill>
                <a:latin typeface="Century Gothic"/>
                <a:cs typeface="Century Gothic"/>
              </a:rPr>
              <a:t>dirty</a:t>
            </a:r>
            <a:endParaRPr sz="3200">
              <a:latin typeface="Century Gothic"/>
              <a:cs typeface="Century Gothic"/>
            </a:endParaRPr>
          </a:p>
        </p:txBody>
      </p:sp>
    </p:spTree>
    <p:extLst>
      <p:ext uri="{BB962C8B-B14F-4D97-AF65-F5344CB8AC3E}">
        <p14:creationId xmlns:p14="http://schemas.microsoft.com/office/powerpoint/2010/main" val="2452837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grpSp>
        <p:nvGrpSpPr>
          <p:cNvPr id="93" name="Group 92"/>
          <p:cNvGrpSpPr/>
          <p:nvPr userDrawn="1"/>
        </p:nvGrpSpPr>
        <p:grpSpPr>
          <a:xfrm>
            <a:off x="1200" y="-5773"/>
            <a:ext cx="12189600" cy="6869546"/>
            <a:chOff x="1200" y="-5773"/>
            <a:chExt cx="12189600" cy="6869546"/>
          </a:xfrm>
        </p:grpSpPr>
        <p:sp>
          <p:nvSpPr>
            <p:cNvPr id="94" name="Slide edges"/>
            <p:cNvSpPr>
              <a:spLocks/>
            </p:cNvSpPr>
            <p:nvPr/>
          </p:nvSpPr>
          <p:spPr bwMode="auto">
            <a:xfrm>
              <a:off x="1200" y="-5773"/>
              <a:ext cx="12189600" cy="6869546"/>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6061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ea typeface="+mn-ea"/>
                <a:cs typeface="+mn-cs"/>
              </a:endParaRPr>
            </a:p>
          </p:txBody>
        </p:sp>
        <p:sp>
          <p:nvSpPr>
            <p:cNvPr id="95" name="Footnote measure"/>
            <p:cNvSpPr>
              <a:spLocks noChangeArrowheads="1"/>
            </p:cNvSpPr>
            <p:nvPr/>
          </p:nvSpPr>
          <p:spPr bwMode="auto">
            <a:xfrm>
              <a:off x="628799" y="6160597"/>
              <a:ext cx="10942499" cy="378584"/>
            </a:xfrm>
            <a:prstGeom prst="rect">
              <a:avLst/>
            </a:prstGeom>
            <a:solidFill>
              <a:srgbClr val="A0CD39">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Whitespace measure"/>
            <p:cNvSpPr>
              <a:spLocks noChangeArrowheads="1"/>
            </p:cNvSpPr>
            <p:nvPr/>
          </p:nvSpPr>
          <p:spPr bwMode="auto">
            <a:xfrm>
              <a:off x="622726" y="1502190"/>
              <a:ext cx="10947600" cy="581036"/>
            </a:xfrm>
            <a:prstGeom prst="rect">
              <a:avLst/>
            </a:prstGeom>
            <a:solidFill>
              <a:srgbClr val="A0CD39">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Rectangle 6"/>
            <p:cNvSpPr>
              <a:spLocks noChangeArrowheads="1"/>
            </p:cNvSpPr>
            <p:nvPr/>
          </p:nvSpPr>
          <p:spPr bwMode="auto">
            <a:xfrm>
              <a:off x="628799" y="1502190"/>
              <a:ext cx="10942499" cy="581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No-fly zone"/>
            <p:cNvSpPr>
              <a:spLocks noEditPoints="1"/>
            </p:cNvSpPr>
            <p:nvPr/>
          </p:nvSpPr>
          <p:spPr bwMode="auto">
            <a:xfrm>
              <a:off x="1200" y="0"/>
              <a:ext cx="12189600" cy="6863103"/>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8"/>
            <p:cNvSpPr>
              <a:spLocks noEditPoints="1"/>
            </p:cNvSpPr>
            <p:nvPr/>
          </p:nvSpPr>
          <p:spPr bwMode="auto">
            <a:xfrm>
              <a:off x="1200" y="0"/>
              <a:ext cx="12189600" cy="6863103"/>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0" name="Gutter space"/>
            <p:cNvGrpSpPr/>
            <p:nvPr/>
          </p:nvGrpSpPr>
          <p:grpSpPr>
            <a:xfrm>
              <a:off x="1284742" y="623550"/>
              <a:ext cx="9620491" cy="5537047"/>
              <a:chOff x="2322513" y="1258888"/>
              <a:chExt cx="7543800" cy="4341813"/>
            </a:xfrm>
            <a:solidFill>
              <a:schemeClr val="accent5">
                <a:alpha val="15000"/>
              </a:schemeClr>
            </a:solidFill>
          </p:grpSpPr>
          <p:sp>
            <p:nvSpPr>
              <p:cNvPr id="125"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1" name="Baselines/Anchors"/>
            <p:cNvGrpSpPr/>
            <p:nvPr/>
          </p:nvGrpSpPr>
          <p:grpSpPr>
            <a:xfrm>
              <a:off x="1200" y="623550"/>
              <a:ext cx="12189600" cy="5537047"/>
              <a:chOff x="1316038" y="1258888"/>
              <a:chExt cx="9558338" cy="4341813"/>
            </a:xfrm>
          </p:grpSpPr>
          <p:sp>
            <p:nvSpPr>
              <p:cNvPr id="105" name="Line 14"/>
              <p:cNvSpPr>
                <a:spLocks noChangeShapeType="1"/>
              </p:cNvSpPr>
              <p:nvPr/>
            </p:nvSpPr>
            <p:spPr bwMode="auto">
              <a:xfrm>
                <a:off x="1316038" y="14874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Line 15"/>
              <p:cNvSpPr>
                <a:spLocks noChangeShapeType="1"/>
              </p:cNvSpPr>
              <p:nvPr/>
            </p:nvSpPr>
            <p:spPr bwMode="auto">
              <a:xfrm>
                <a:off x="1316038" y="12588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16"/>
              <p:cNvSpPr>
                <a:spLocks noChangeShapeType="1"/>
              </p:cNvSpPr>
              <p:nvPr/>
            </p:nvSpPr>
            <p:spPr bwMode="auto">
              <a:xfrm>
                <a:off x="1316038" y="56007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8" name="Line 17"/>
              <p:cNvSpPr>
                <a:spLocks noChangeShapeType="1"/>
              </p:cNvSpPr>
              <p:nvPr/>
            </p:nvSpPr>
            <p:spPr bwMode="auto">
              <a:xfrm>
                <a:off x="1316038" y="1717676"/>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9" name="Line 18"/>
              <p:cNvSpPr>
                <a:spLocks noChangeShapeType="1"/>
              </p:cNvSpPr>
              <p:nvPr/>
            </p:nvSpPr>
            <p:spPr bwMode="auto">
              <a:xfrm>
                <a:off x="1316038" y="1946276"/>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0" name="Line 19"/>
              <p:cNvSpPr>
                <a:spLocks noChangeShapeType="1"/>
              </p:cNvSpPr>
              <p:nvPr/>
            </p:nvSpPr>
            <p:spPr bwMode="auto">
              <a:xfrm>
                <a:off x="1316038" y="21732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1" name="Line 20"/>
              <p:cNvSpPr>
                <a:spLocks noChangeShapeType="1"/>
              </p:cNvSpPr>
              <p:nvPr/>
            </p:nvSpPr>
            <p:spPr bwMode="auto">
              <a:xfrm>
                <a:off x="1316038" y="24018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2" name="Line 21"/>
              <p:cNvSpPr>
                <a:spLocks noChangeShapeType="1"/>
              </p:cNvSpPr>
              <p:nvPr/>
            </p:nvSpPr>
            <p:spPr bwMode="auto">
              <a:xfrm>
                <a:off x="1316038" y="26304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3" name="Line 22"/>
              <p:cNvSpPr>
                <a:spLocks noChangeShapeType="1"/>
              </p:cNvSpPr>
              <p:nvPr/>
            </p:nvSpPr>
            <p:spPr bwMode="auto">
              <a:xfrm>
                <a:off x="1316038" y="28590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4" name="Line 23"/>
              <p:cNvSpPr>
                <a:spLocks noChangeShapeType="1"/>
              </p:cNvSpPr>
              <p:nvPr/>
            </p:nvSpPr>
            <p:spPr bwMode="auto">
              <a:xfrm>
                <a:off x="1316038" y="30876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5" name="Line 24"/>
              <p:cNvSpPr>
                <a:spLocks noChangeShapeType="1"/>
              </p:cNvSpPr>
              <p:nvPr/>
            </p:nvSpPr>
            <p:spPr bwMode="auto">
              <a:xfrm>
                <a:off x="1316038" y="33162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6" name="Line 25"/>
              <p:cNvSpPr>
                <a:spLocks noChangeShapeType="1"/>
              </p:cNvSpPr>
              <p:nvPr/>
            </p:nvSpPr>
            <p:spPr bwMode="auto">
              <a:xfrm>
                <a:off x="1316038" y="35433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7" name="Line 26"/>
              <p:cNvSpPr>
                <a:spLocks noChangeShapeType="1"/>
              </p:cNvSpPr>
              <p:nvPr/>
            </p:nvSpPr>
            <p:spPr bwMode="auto">
              <a:xfrm>
                <a:off x="1316038" y="37719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8" name="Line 27"/>
              <p:cNvSpPr>
                <a:spLocks noChangeShapeType="1"/>
              </p:cNvSpPr>
              <p:nvPr/>
            </p:nvSpPr>
            <p:spPr bwMode="auto">
              <a:xfrm>
                <a:off x="1316038" y="40005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9" name="Line 28"/>
              <p:cNvSpPr>
                <a:spLocks noChangeShapeType="1"/>
              </p:cNvSpPr>
              <p:nvPr/>
            </p:nvSpPr>
            <p:spPr bwMode="auto">
              <a:xfrm>
                <a:off x="1316038" y="42306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 name="Line 29"/>
              <p:cNvSpPr>
                <a:spLocks noChangeShapeType="1"/>
              </p:cNvSpPr>
              <p:nvPr/>
            </p:nvSpPr>
            <p:spPr bwMode="auto">
              <a:xfrm>
                <a:off x="1316038" y="44577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1" name="Line 30"/>
              <p:cNvSpPr>
                <a:spLocks noChangeShapeType="1"/>
              </p:cNvSpPr>
              <p:nvPr/>
            </p:nvSpPr>
            <p:spPr bwMode="auto">
              <a:xfrm>
                <a:off x="1316038" y="46863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2" name="Line 31"/>
              <p:cNvSpPr>
                <a:spLocks noChangeShapeType="1"/>
              </p:cNvSpPr>
              <p:nvPr/>
            </p:nvSpPr>
            <p:spPr bwMode="auto">
              <a:xfrm>
                <a:off x="1316038" y="49149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3" name="Line 32"/>
              <p:cNvSpPr>
                <a:spLocks noChangeShapeType="1"/>
              </p:cNvSpPr>
              <p:nvPr/>
            </p:nvSpPr>
            <p:spPr bwMode="auto">
              <a:xfrm>
                <a:off x="1316038" y="5141913"/>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 name="Line 33"/>
              <p:cNvSpPr>
                <a:spLocks noChangeShapeType="1"/>
              </p:cNvSpPr>
              <p:nvPr/>
            </p:nvSpPr>
            <p:spPr bwMode="auto">
              <a:xfrm>
                <a:off x="1316038" y="53721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102" name="Five column measure"/>
            <p:cNvSpPr>
              <a:spLocks noEditPoints="1"/>
            </p:cNvSpPr>
            <p:nvPr/>
          </p:nvSpPr>
          <p:spPr bwMode="auto">
            <a:xfrm>
              <a:off x="628799" y="5984464"/>
              <a:ext cx="10942499" cy="66810"/>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606164">
                <a:alpha val="15000"/>
              </a:srgb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Live space"/>
            <p:cNvSpPr/>
            <p:nvPr/>
          </p:nvSpPr>
          <p:spPr>
            <a:xfrm>
              <a:off x="628798" y="2085250"/>
              <a:ext cx="10938451" cy="407534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04" name="Footnote example"/>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dirty="0">
                  <a:solidFill>
                    <a:srgbClr val="7F7F7F"/>
                  </a:solidFill>
                  <a:sym typeface="Trebuchet MS" panose="020B0603020202020204" pitchFamily="34" charset="0"/>
                </a:rPr>
                <a:t>1. xxxx  2. xxxx  3. xxxx</a:t>
              </a:r>
            </a:p>
            <a:p>
              <a:pPr lvl="0">
                <a:lnSpc>
                  <a:spcPct val="90000"/>
                </a:lnSpc>
                <a:defRPr/>
              </a:pPr>
              <a:r>
                <a:rPr lang="en-US" sz="1000" dirty="0">
                  <a:solidFill>
                    <a:srgbClr val="7F7F7F"/>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srgbClr val="7F7F7F"/>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744660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47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1" name="Rectangle 20"/>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23" name="Picture 22"/>
          <p:cNvPicPr>
            <a:picLocks noChangeAspect="1"/>
          </p:cNvPicPr>
          <p:nvPr userDrawn="1"/>
        </p:nvPicPr>
        <p:blipFill rotWithShape="1">
          <a:blip r:embed="rId7" cstate="print">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24" name="Picture 23"/>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0" y="-1"/>
            <a:ext cx="12191208" cy="5279183"/>
          </a:xfrm>
          <a:prstGeom prst="rect">
            <a:avLst/>
          </a:prstGeom>
        </p:spPr>
      </p:pic>
      <p:sp>
        <p:nvSpPr>
          <p:cNvPr id="25" name="Rectangle 24"/>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8"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37"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38"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39" name="Picture 38"/>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804320" y="508849"/>
            <a:ext cx="3898309" cy="1299436"/>
          </a:xfrm>
          <a:prstGeom prst="rect">
            <a:avLst/>
          </a:prstGeom>
        </p:spPr>
      </p:pic>
    </p:spTree>
    <p:extLst>
      <p:ext uri="{BB962C8B-B14F-4D97-AF65-F5344CB8AC3E}">
        <p14:creationId xmlns:p14="http://schemas.microsoft.com/office/powerpoint/2010/main" val="4181287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7DA28FB8-D44B-4012-81C8-5496763FBE5D}"/>
              </a:ext>
            </a:extLst>
          </p:cNvPr>
          <p:cNvSpPr/>
          <p:nvPr userDrawn="1">
            <p:custDataLst>
              <p:tags r:id="rId2"/>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50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b="1">
                <a:solidFill>
                  <a:srgbClr val="435264"/>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58093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52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4352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b="0">
                <a:latin typeface="+mj-lt"/>
                <a:sym typeface="Trebuchet MS" panose="020B0603020202020204" pitchFamily="34" charset="0"/>
              </a:defRPr>
            </a:lvl1pPr>
          </a:lstStyle>
          <a:p>
            <a:r>
              <a:rPr lang="en-US" dirty="0"/>
              <a:t>Click to add title</a:t>
            </a:r>
          </a:p>
        </p:txBody>
      </p:sp>
      <p:sp>
        <p:nvSpPr>
          <p:cNvPr id="4" name="AutoShape 3"/>
          <p:cNvSpPr>
            <a:spLocks noChangeAspect="1" noChangeArrowheads="1" noTextEdit="1"/>
          </p:cNvSpPr>
          <p:nvPr userDrawn="1"/>
        </p:nvSpPr>
        <p:spPr bwMode="auto">
          <a:xfrm>
            <a:off x="0" y="6419980"/>
            <a:ext cx="12192000" cy="43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5"/>
          <p:cNvSpPr>
            <a:spLocks/>
          </p:cNvSpPr>
          <p:nvPr userDrawn="1"/>
        </p:nvSpPr>
        <p:spPr bwMode="auto">
          <a:xfrm>
            <a:off x="0" y="6530829"/>
            <a:ext cx="12192000" cy="327171"/>
          </a:xfrm>
          <a:custGeom>
            <a:avLst/>
            <a:gdLst>
              <a:gd name="T0" fmla="*/ 0 w 18148"/>
              <a:gd name="T1" fmla="*/ 487 h 487"/>
              <a:gd name="T2" fmla="*/ 652 w 18148"/>
              <a:gd name="T3" fmla="*/ 229 h 487"/>
              <a:gd name="T4" fmla="*/ 9707 w 18148"/>
              <a:gd name="T5" fmla="*/ 229 h 487"/>
              <a:gd name="T6" fmla="*/ 10029 w 18148"/>
              <a:gd name="T7" fmla="*/ 358 h 487"/>
              <a:gd name="T8" fmla="*/ 18148 w 18148"/>
              <a:gd name="T9" fmla="*/ 358 h 487"/>
              <a:gd name="T10" fmla="*/ 18148 w 18148"/>
              <a:gd name="T11" fmla="*/ 184 h 487"/>
              <a:gd name="T12" fmla="*/ 10293 w 18148"/>
              <a:gd name="T13" fmla="*/ 184 h 487"/>
              <a:gd name="T14" fmla="*/ 9906 w 18148"/>
              <a:gd name="T15" fmla="*/ 0 h 487"/>
              <a:gd name="T16" fmla="*/ 633 w 18148"/>
              <a:gd name="T17" fmla="*/ 0 h 487"/>
              <a:gd name="T18" fmla="*/ 0 w 18148"/>
              <a:gd name="T19" fmla="*/ 241 h 487"/>
              <a:gd name="T20" fmla="*/ 0 w 18148"/>
              <a:gd name="T21" fmla="*/ 48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48" h="487">
                <a:moveTo>
                  <a:pt x="0" y="487"/>
                </a:moveTo>
                <a:lnTo>
                  <a:pt x="652" y="229"/>
                </a:lnTo>
                <a:lnTo>
                  <a:pt x="9707" y="229"/>
                </a:lnTo>
                <a:lnTo>
                  <a:pt x="10029" y="358"/>
                </a:lnTo>
                <a:lnTo>
                  <a:pt x="18148" y="358"/>
                </a:lnTo>
                <a:lnTo>
                  <a:pt x="18148" y="184"/>
                </a:lnTo>
                <a:lnTo>
                  <a:pt x="10293" y="184"/>
                </a:lnTo>
                <a:lnTo>
                  <a:pt x="9906" y="0"/>
                </a:lnTo>
                <a:lnTo>
                  <a:pt x="633" y="0"/>
                </a:lnTo>
                <a:lnTo>
                  <a:pt x="0" y="241"/>
                </a:lnTo>
                <a:lnTo>
                  <a:pt x="0" y="48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p:cNvSpPr>
          <p:nvPr userDrawn="1"/>
        </p:nvSpPr>
        <p:spPr bwMode="auto">
          <a:xfrm>
            <a:off x="6763107" y="6492535"/>
            <a:ext cx="5428893" cy="96069"/>
          </a:xfrm>
          <a:custGeom>
            <a:avLst/>
            <a:gdLst>
              <a:gd name="T0" fmla="*/ 8081 w 8081"/>
              <a:gd name="T1" fmla="*/ 143 h 143"/>
              <a:gd name="T2" fmla="*/ 283 w 8081"/>
              <a:gd name="T3" fmla="*/ 143 h 143"/>
              <a:gd name="T4" fmla="*/ 0 w 8081"/>
              <a:gd name="T5" fmla="*/ 0 h 143"/>
              <a:gd name="T6" fmla="*/ 8081 w 8081"/>
              <a:gd name="T7" fmla="*/ 0 h 143"/>
              <a:gd name="T8" fmla="*/ 8081 w 8081"/>
              <a:gd name="T9" fmla="*/ 143 h 143"/>
            </a:gdLst>
            <a:ahLst/>
            <a:cxnLst>
              <a:cxn ang="0">
                <a:pos x="T0" y="T1"/>
              </a:cxn>
              <a:cxn ang="0">
                <a:pos x="T2" y="T3"/>
              </a:cxn>
              <a:cxn ang="0">
                <a:pos x="T4" y="T5"/>
              </a:cxn>
              <a:cxn ang="0">
                <a:pos x="T6" y="T7"/>
              </a:cxn>
              <a:cxn ang="0">
                <a:pos x="T8" y="T9"/>
              </a:cxn>
            </a:cxnLst>
            <a:rect l="0" t="0" r="r" b="b"/>
            <a:pathLst>
              <a:path w="8081" h="143">
                <a:moveTo>
                  <a:pt x="8081" y="143"/>
                </a:moveTo>
                <a:lnTo>
                  <a:pt x="283" y="143"/>
                </a:lnTo>
                <a:lnTo>
                  <a:pt x="0" y="0"/>
                </a:lnTo>
                <a:lnTo>
                  <a:pt x="8081" y="0"/>
                </a:lnTo>
                <a:lnTo>
                  <a:pt x="8081" y="14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auto">
          <a:xfrm>
            <a:off x="0" y="6421324"/>
            <a:ext cx="6591124" cy="71212"/>
          </a:xfrm>
          <a:custGeom>
            <a:avLst/>
            <a:gdLst>
              <a:gd name="T0" fmla="*/ 0 w 9811"/>
              <a:gd name="T1" fmla="*/ 106 h 106"/>
              <a:gd name="T2" fmla="*/ 9811 w 9811"/>
              <a:gd name="T3" fmla="*/ 106 h 106"/>
              <a:gd name="T4" fmla="*/ 9584 w 9811"/>
              <a:gd name="T5" fmla="*/ 0 h 106"/>
              <a:gd name="T6" fmla="*/ 0 w 9811"/>
              <a:gd name="T7" fmla="*/ 0 h 106"/>
              <a:gd name="T8" fmla="*/ 0 w 9811"/>
              <a:gd name="T9" fmla="*/ 106 h 106"/>
            </a:gdLst>
            <a:ahLst/>
            <a:cxnLst>
              <a:cxn ang="0">
                <a:pos x="T0" y="T1"/>
              </a:cxn>
              <a:cxn ang="0">
                <a:pos x="T2" y="T3"/>
              </a:cxn>
              <a:cxn ang="0">
                <a:pos x="T4" y="T5"/>
              </a:cxn>
              <a:cxn ang="0">
                <a:pos x="T6" y="T7"/>
              </a:cxn>
              <a:cxn ang="0">
                <a:pos x="T8" y="T9"/>
              </a:cxn>
            </a:cxnLst>
            <a:rect l="0" t="0" r="r" b="b"/>
            <a:pathLst>
              <a:path w="9811" h="106">
                <a:moveTo>
                  <a:pt x="0" y="106"/>
                </a:moveTo>
                <a:lnTo>
                  <a:pt x="9811" y="106"/>
                </a:lnTo>
                <a:lnTo>
                  <a:pt x="9584" y="0"/>
                </a:lnTo>
                <a:lnTo>
                  <a:pt x="0" y="0"/>
                </a:lnTo>
                <a:lnTo>
                  <a:pt x="0" y="10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25411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Title Only 3">
    <p:bg>
      <p:bgPr>
        <a:gradFill>
          <a:gsLst>
            <a:gs pos="100000">
              <a:schemeClr val="tx1">
                <a:lumMod val="50000"/>
              </a:schemeClr>
            </a:gs>
            <a:gs pos="0">
              <a:schemeClr val="tx1"/>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55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4352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b="0">
                <a:solidFill>
                  <a:srgbClr val="FFFFFF"/>
                </a:solidFill>
                <a:latin typeface="+mj-lt"/>
                <a:sym typeface="Trebuchet MS" panose="020B0603020202020204" pitchFamily="34" charset="0"/>
              </a:defRPr>
            </a:lvl1pPr>
          </a:lstStyle>
          <a:p>
            <a:r>
              <a:rPr lang="en-US" dirty="0"/>
              <a:t>Click to add title</a:t>
            </a:r>
          </a:p>
        </p:txBody>
      </p:sp>
      <p:sp>
        <p:nvSpPr>
          <p:cNvPr id="4" name="AutoShape 3"/>
          <p:cNvSpPr>
            <a:spLocks noChangeAspect="1" noChangeArrowheads="1" noTextEdit="1"/>
          </p:cNvSpPr>
          <p:nvPr userDrawn="1"/>
        </p:nvSpPr>
        <p:spPr bwMode="auto">
          <a:xfrm>
            <a:off x="0" y="6419980"/>
            <a:ext cx="12192000" cy="43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5"/>
          <p:cNvSpPr>
            <a:spLocks/>
          </p:cNvSpPr>
          <p:nvPr userDrawn="1"/>
        </p:nvSpPr>
        <p:spPr bwMode="auto">
          <a:xfrm>
            <a:off x="0" y="6530829"/>
            <a:ext cx="12192000" cy="327171"/>
          </a:xfrm>
          <a:custGeom>
            <a:avLst/>
            <a:gdLst>
              <a:gd name="T0" fmla="*/ 0 w 18148"/>
              <a:gd name="T1" fmla="*/ 487 h 487"/>
              <a:gd name="T2" fmla="*/ 652 w 18148"/>
              <a:gd name="T3" fmla="*/ 229 h 487"/>
              <a:gd name="T4" fmla="*/ 9707 w 18148"/>
              <a:gd name="T5" fmla="*/ 229 h 487"/>
              <a:gd name="T6" fmla="*/ 10029 w 18148"/>
              <a:gd name="T7" fmla="*/ 358 h 487"/>
              <a:gd name="T8" fmla="*/ 18148 w 18148"/>
              <a:gd name="T9" fmla="*/ 358 h 487"/>
              <a:gd name="T10" fmla="*/ 18148 w 18148"/>
              <a:gd name="T11" fmla="*/ 184 h 487"/>
              <a:gd name="T12" fmla="*/ 10293 w 18148"/>
              <a:gd name="T13" fmla="*/ 184 h 487"/>
              <a:gd name="T14" fmla="*/ 9906 w 18148"/>
              <a:gd name="T15" fmla="*/ 0 h 487"/>
              <a:gd name="T16" fmla="*/ 633 w 18148"/>
              <a:gd name="T17" fmla="*/ 0 h 487"/>
              <a:gd name="T18" fmla="*/ 0 w 18148"/>
              <a:gd name="T19" fmla="*/ 241 h 487"/>
              <a:gd name="T20" fmla="*/ 0 w 18148"/>
              <a:gd name="T21" fmla="*/ 48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48" h="487">
                <a:moveTo>
                  <a:pt x="0" y="487"/>
                </a:moveTo>
                <a:lnTo>
                  <a:pt x="652" y="229"/>
                </a:lnTo>
                <a:lnTo>
                  <a:pt x="9707" y="229"/>
                </a:lnTo>
                <a:lnTo>
                  <a:pt x="10029" y="358"/>
                </a:lnTo>
                <a:lnTo>
                  <a:pt x="18148" y="358"/>
                </a:lnTo>
                <a:lnTo>
                  <a:pt x="18148" y="184"/>
                </a:lnTo>
                <a:lnTo>
                  <a:pt x="10293" y="184"/>
                </a:lnTo>
                <a:lnTo>
                  <a:pt x="9906" y="0"/>
                </a:lnTo>
                <a:lnTo>
                  <a:pt x="633" y="0"/>
                </a:lnTo>
                <a:lnTo>
                  <a:pt x="0" y="241"/>
                </a:lnTo>
                <a:lnTo>
                  <a:pt x="0" y="48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p:cNvSpPr>
          <p:nvPr userDrawn="1"/>
        </p:nvSpPr>
        <p:spPr bwMode="auto">
          <a:xfrm>
            <a:off x="6763107" y="6492535"/>
            <a:ext cx="5428893" cy="96069"/>
          </a:xfrm>
          <a:custGeom>
            <a:avLst/>
            <a:gdLst>
              <a:gd name="T0" fmla="*/ 8081 w 8081"/>
              <a:gd name="T1" fmla="*/ 143 h 143"/>
              <a:gd name="T2" fmla="*/ 283 w 8081"/>
              <a:gd name="T3" fmla="*/ 143 h 143"/>
              <a:gd name="T4" fmla="*/ 0 w 8081"/>
              <a:gd name="T5" fmla="*/ 0 h 143"/>
              <a:gd name="T6" fmla="*/ 8081 w 8081"/>
              <a:gd name="T7" fmla="*/ 0 h 143"/>
              <a:gd name="T8" fmla="*/ 8081 w 8081"/>
              <a:gd name="T9" fmla="*/ 143 h 143"/>
            </a:gdLst>
            <a:ahLst/>
            <a:cxnLst>
              <a:cxn ang="0">
                <a:pos x="T0" y="T1"/>
              </a:cxn>
              <a:cxn ang="0">
                <a:pos x="T2" y="T3"/>
              </a:cxn>
              <a:cxn ang="0">
                <a:pos x="T4" y="T5"/>
              </a:cxn>
              <a:cxn ang="0">
                <a:pos x="T6" y="T7"/>
              </a:cxn>
              <a:cxn ang="0">
                <a:pos x="T8" y="T9"/>
              </a:cxn>
            </a:cxnLst>
            <a:rect l="0" t="0" r="r" b="b"/>
            <a:pathLst>
              <a:path w="8081" h="143">
                <a:moveTo>
                  <a:pt x="8081" y="143"/>
                </a:moveTo>
                <a:lnTo>
                  <a:pt x="283" y="143"/>
                </a:lnTo>
                <a:lnTo>
                  <a:pt x="0" y="0"/>
                </a:lnTo>
                <a:lnTo>
                  <a:pt x="8081" y="0"/>
                </a:lnTo>
                <a:lnTo>
                  <a:pt x="8081" y="14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auto">
          <a:xfrm>
            <a:off x="0" y="6421324"/>
            <a:ext cx="6591124" cy="71212"/>
          </a:xfrm>
          <a:custGeom>
            <a:avLst/>
            <a:gdLst>
              <a:gd name="T0" fmla="*/ 0 w 9811"/>
              <a:gd name="T1" fmla="*/ 106 h 106"/>
              <a:gd name="T2" fmla="*/ 9811 w 9811"/>
              <a:gd name="T3" fmla="*/ 106 h 106"/>
              <a:gd name="T4" fmla="*/ 9584 w 9811"/>
              <a:gd name="T5" fmla="*/ 0 h 106"/>
              <a:gd name="T6" fmla="*/ 0 w 9811"/>
              <a:gd name="T7" fmla="*/ 0 h 106"/>
              <a:gd name="T8" fmla="*/ 0 w 9811"/>
              <a:gd name="T9" fmla="*/ 106 h 106"/>
            </a:gdLst>
            <a:ahLst/>
            <a:cxnLst>
              <a:cxn ang="0">
                <a:pos x="T0" y="T1"/>
              </a:cxn>
              <a:cxn ang="0">
                <a:pos x="T2" y="T3"/>
              </a:cxn>
              <a:cxn ang="0">
                <a:pos x="T4" y="T5"/>
              </a:cxn>
              <a:cxn ang="0">
                <a:pos x="T6" y="T7"/>
              </a:cxn>
              <a:cxn ang="0">
                <a:pos x="T8" y="T9"/>
              </a:cxn>
            </a:cxnLst>
            <a:rect l="0" t="0" r="r" b="b"/>
            <a:pathLst>
              <a:path w="9811" h="106">
                <a:moveTo>
                  <a:pt x="0" y="106"/>
                </a:moveTo>
                <a:lnTo>
                  <a:pt x="9811" y="106"/>
                </a:lnTo>
                <a:lnTo>
                  <a:pt x="9584" y="0"/>
                </a:lnTo>
                <a:lnTo>
                  <a:pt x="0" y="0"/>
                </a:lnTo>
                <a:lnTo>
                  <a:pt x="0" y="10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11982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 Title Only 4">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57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4352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2242515"/>
            <a:ext cx="3199050" cy="2539035"/>
          </a:xfrm>
        </p:spPr>
        <p:txBody>
          <a:bodyPr anchor="ctr">
            <a:noAutofit/>
          </a:bodyPr>
          <a:lstStyle>
            <a:lvl1pPr>
              <a:defRPr sz="4800" b="0">
                <a:latin typeface="+mj-lt"/>
                <a:sym typeface="Trebuchet MS" panose="020B0603020202020204" pitchFamily="34" charset="0"/>
              </a:defRPr>
            </a:lvl1pPr>
          </a:lstStyle>
          <a:p>
            <a:r>
              <a:rPr lang="en-US" dirty="0"/>
              <a:t>Click to add title</a:t>
            </a:r>
          </a:p>
        </p:txBody>
      </p:sp>
      <p:sp>
        <p:nvSpPr>
          <p:cNvPr id="5" name="AutoShape 3"/>
          <p:cNvSpPr>
            <a:spLocks noChangeAspect="1" noChangeArrowheads="1" noTextEdit="1"/>
          </p:cNvSpPr>
          <p:nvPr userDrawn="1"/>
        </p:nvSpPr>
        <p:spPr bwMode="auto">
          <a:xfrm>
            <a:off x="1944688" y="0"/>
            <a:ext cx="351313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p:cNvSpPr>
            <a:spLocks/>
          </p:cNvSpPr>
          <p:nvPr userDrawn="1"/>
        </p:nvSpPr>
        <p:spPr bwMode="auto">
          <a:xfrm>
            <a:off x="1944688" y="1828800"/>
            <a:ext cx="3895724" cy="5029200"/>
          </a:xfrm>
          <a:custGeom>
            <a:avLst/>
            <a:gdLst>
              <a:gd name="T0" fmla="*/ 0 w 2452"/>
              <a:gd name="T1" fmla="*/ 3168 h 3168"/>
              <a:gd name="T2" fmla="*/ 1808 w 2452"/>
              <a:gd name="T3" fmla="*/ 0 h 3168"/>
              <a:gd name="T4" fmla="*/ 836 w 2452"/>
              <a:gd name="T5" fmla="*/ 3168 h 3168"/>
              <a:gd name="T6" fmla="*/ 0 w 2452"/>
              <a:gd name="T7" fmla="*/ 3168 h 3168"/>
            </a:gdLst>
            <a:ahLst/>
            <a:cxnLst>
              <a:cxn ang="0">
                <a:pos x="T0" y="T1"/>
              </a:cxn>
              <a:cxn ang="0">
                <a:pos x="T2" y="T3"/>
              </a:cxn>
              <a:cxn ang="0">
                <a:pos x="T4" y="T5"/>
              </a:cxn>
              <a:cxn ang="0">
                <a:pos x="T6" y="T7"/>
              </a:cxn>
            </a:cxnLst>
            <a:rect l="0" t="0" r="r" b="b"/>
            <a:pathLst>
              <a:path w="2452" h="3168">
                <a:moveTo>
                  <a:pt x="0" y="3168"/>
                </a:moveTo>
                <a:cubicBezTo>
                  <a:pt x="0" y="3168"/>
                  <a:pt x="2060" y="2068"/>
                  <a:pt x="1808" y="0"/>
                </a:cubicBezTo>
                <a:cubicBezTo>
                  <a:pt x="1808" y="0"/>
                  <a:pt x="2452" y="1696"/>
                  <a:pt x="836" y="3168"/>
                </a:cubicBezTo>
                <a:lnTo>
                  <a:pt x="0" y="316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p:cNvSpPr>
          <p:nvPr userDrawn="1"/>
        </p:nvSpPr>
        <p:spPr bwMode="auto">
          <a:xfrm>
            <a:off x="3990975" y="0"/>
            <a:ext cx="2141537" cy="4343400"/>
          </a:xfrm>
          <a:custGeom>
            <a:avLst/>
            <a:gdLst>
              <a:gd name="T0" fmla="*/ 0 w 1348"/>
              <a:gd name="T1" fmla="*/ 0 h 2736"/>
              <a:gd name="T2" fmla="*/ 648 w 1348"/>
              <a:gd name="T3" fmla="*/ 2736 h 2736"/>
              <a:gd name="T4" fmla="*/ 512 w 1348"/>
              <a:gd name="T5" fmla="*/ 0 h 2736"/>
              <a:gd name="T6" fmla="*/ 0 w 1348"/>
              <a:gd name="T7" fmla="*/ 0 h 2736"/>
            </a:gdLst>
            <a:ahLst/>
            <a:cxnLst>
              <a:cxn ang="0">
                <a:pos x="T0" y="T1"/>
              </a:cxn>
              <a:cxn ang="0">
                <a:pos x="T2" y="T3"/>
              </a:cxn>
              <a:cxn ang="0">
                <a:pos x="T4" y="T5"/>
              </a:cxn>
              <a:cxn ang="0">
                <a:pos x="T6" y="T7"/>
              </a:cxn>
            </a:cxnLst>
            <a:rect l="0" t="0" r="r" b="b"/>
            <a:pathLst>
              <a:path w="1348" h="2736">
                <a:moveTo>
                  <a:pt x="0" y="0"/>
                </a:moveTo>
                <a:cubicBezTo>
                  <a:pt x="0" y="0"/>
                  <a:pt x="1136" y="1324"/>
                  <a:pt x="648" y="2736"/>
                </a:cubicBezTo>
                <a:cubicBezTo>
                  <a:pt x="648" y="2736"/>
                  <a:pt x="1348" y="1328"/>
                  <a:pt x="512" y="0"/>
                </a:cubicBezTo>
                <a:lnTo>
                  <a:pt x="0" y="0"/>
                </a:lnTo>
                <a:close/>
              </a:path>
            </a:pathLst>
          </a:custGeom>
          <a:solidFill>
            <a:srgbClr val="435264"/>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46149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5">
    <p:bg>
      <p:bgPr>
        <a:gradFill>
          <a:gsLst>
            <a:gs pos="100000">
              <a:schemeClr val="tx1">
                <a:lumMod val="50000"/>
              </a:schemeClr>
            </a:gs>
            <a:gs pos="0">
              <a:schemeClr val="tx1"/>
            </a:gs>
          </a:gsLst>
          <a:lin ang="81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9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4352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2242515"/>
            <a:ext cx="3199050" cy="2539035"/>
          </a:xfrm>
        </p:spPr>
        <p:txBody>
          <a:bodyPr anchor="ctr">
            <a:noAutofit/>
          </a:bodyPr>
          <a:lstStyle>
            <a:lvl1pPr>
              <a:defRPr sz="4800" b="0">
                <a:solidFill>
                  <a:srgbClr val="FFFFFF"/>
                </a:solidFill>
                <a:latin typeface="+mj-lt"/>
                <a:sym typeface="Trebuchet MS" panose="020B0603020202020204" pitchFamily="34" charset="0"/>
              </a:defRPr>
            </a:lvl1pPr>
          </a:lstStyle>
          <a:p>
            <a:r>
              <a:rPr lang="en-US" dirty="0"/>
              <a:t>Click to add title</a:t>
            </a:r>
          </a:p>
        </p:txBody>
      </p:sp>
      <p:sp>
        <p:nvSpPr>
          <p:cNvPr id="5" name="AutoShape 3"/>
          <p:cNvSpPr>
            <a:spLocks noChangeAspect="1" noChangeArrowheads="1" noTextEdit="1"/>
          </p:cNvSpPr>
          <p:nvPr userDrawn="1"/>
        </p:nvSpPr>
        <p:spPr bwMode="auto">
          <a:xfrm>
            <a:off x="1944688" y="0"/>
            <a:ext cx="351313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p:cNvSpPr>
            <a:spLocks/>
          </p:cNvSpPr>
          <p:nvPr userDrawn="1"/>
        </p:nvSpPr>
        <p:spPr bwMode="auto">
          <a:xfrm>
            <a:off x="1944688" y="1828800"/>
            <a:ext cx="3895724" cy="5029200"/>
          </a:xfrm>
          <a:custGeom>
            <a:avLst/>
            <a:gdLst>
              <a:gd name="T0" fmla="*/ 0 w 2452"/>
              <a:gd name="T1" fmla="*/ 3168 h 3168"/>
              <a:gd name="T2" fmla="*/ 1808 w 2452"/>
              <a:gd name="T3" fmla="*/ 0 h 3168"/>
              <a:gd name="T4" fmla="*/ 836 w 2452"/>
              <a:gd name="T5" fmla="*/ 3168 h 3168"/>
              <a:gd name="T6" fmla="*/ 0 w 2452"/>
              <a:gd name="T7" fmla="*/ 3168 h 3168"/>
            </a:gdLst>
            <a:ahLst/>
            <a:cxnLst>
              <a:cxn ang="0">
                <a:pos x="T0" y="T1"/>
              </a:cxn>
              <a:cxn ang="0">
                <a:pos x="T2" y="T3"/>
              </a:cxn>
              <a:cxn ang="0">
                <a:pos x="T4" y="T5"/>
              </a:cxn>
              <a:cxn ang="0">
                <a:pos x="T6" y="T7"/>
              </a:cxn>
            </a:cxnLst>
            <a:rect l="0" t="0" r="r" b="b"/>
            <a:pathLst>
              <a:path w="2452" h="3168">
                <a:moveTo>
                  <a:pt x="0" y="3168"/>
                </a:moveTo>
                <a:cubicBezTo>
                  <a:pt x="0" y="3168"/>
                  <a:pt x="2060" y="2068"/>
                  <a:pt x="1808" y="0"/>
                </a:cubicBezTo>
                <a:cubicBezTo>
                  <a:pt x="1808" y="0"/>
                  <a:pt x="2452" y="1696"/>
                  <a:pt x="836" y="3168"/>
                </a:cubicBezTo>
                <a:lnTo>
                  <a:pt x="0" y="31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p:cNvSpPr>
          <p:nvPr userDrawn="1"/>
        </p:nvSpPr>
        <p:spPr bwMode="auto">
          <a:xfrm>
            <a:off x="3990975" y="0"/>
            <a:ext cx="2141537" cy="4343400"/>
          </a:xfrm>
          <a:custGeom>
            <a:avLst/>
            <a:gdLst>
              <a:gd name="T0" fmla="*/ 0 w 1348"/>
              <a:gd name="T1" fmla="*/ 0 h 2736"/>
              <a:gd name="T2" fmla="*/ 648 w 1348"/>
              <a:gd name="T3" fmla="*/ 2736 h 2736"/>
              <a:gd name="T4" fmla="*/ 512 w 1348"/>
              <a:gd name="T5" fmla="*/ 0 h 2736"/>
              <a:gd name="T6" fmla="*/ 0 w 1348"/>
              <a:gd name="T7" fmla="*/ 0 h 2736"/>
            </a:gdLst>
            <a:ahLst/>
            <a:cxnLst>
              <a:cxn ang="0">
                <a:pos x="T0" y="T1"/>
              </a:cxn>
              <a:cxn ang="0">
                <a:pos x="T2" y="T3"/>
              </a:cxn>
              <a:cxn ang="0">
                <a:pos x="T4" y="T5"/>
              </a:cxn>
              <a:cxn ang="0">
                <a:pos x="T6" y="T7"/>
              </a:cxn>
            </a:cxnLst>
            <a:rect l="0" t="0" r="r" b="b"/>
            <a:pathLst>
              <a:path w="1348" h="2736">
                <a:moveTo>
                  <a:pt x="0" y="0"/>
                </a:moveTo>
                <a:cubicBezTo>
                  <a:pt x="0" y="0"/>
                  <a:pt x="1136" y="1324"/>
                  <a:pt x="648" y="2736"/>
                </a:cubicBezTo>
                <a:cubicBezTo>
                  <a:pt x="648" y="2736"/>
                  <a:pt x="1348" y="1328"/>
                  <a:pt x="512" y="0"/>
                </a:cubicBezTo>
                <a:lnTo>
                  <a:pt x="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xtBox 10"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593625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Title Only 6">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622" name="think-cell Slide" r:id="rId6" imgW="352" imgH="355" progId="TCLayout.ActiveDocument.1">
                  <p:embed/>
                </p:oleObj>
              </mc:Choice>
              <mc:Fallback>
                <p:oleObj name="think-cell Slide" r:id="rId6" imgW="352" imgH="355"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4352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4" name="Picture 3"/>
          <p:cNvPicPr>
            <a:picLocks noChangeAspect="1"/>
          </p:cNvPicPr>
          <p:nvPr userDrawn="1"/>
        </p:nvPicPr>
        <p:blipFill>
          <a:blip r:embed="rId8"/>
          <a:stretch>
            <a:fillRect/>
          </a:stretch>
        </p:blipFill>
        <p:spPr>
          <a:xfrm>
            <a:off x="0" y="0"/>
            <a:ext cx="12192000" cy="6858000"/>
          </a:xfrm>
          <a:prstGeom prst="rect">
            <a:avLst/>
          </a:prstGeom>
        </p:spPr>
      </p:pic>
      <p:sp>
        <p:nvSpPr>
          <p:cNvPr id="9" name="Overlay"/>
          <p:cNvSpPr/>
          <p:nvPr userDrawn="1">
            <p:custDataLst>
              <p:tags r:id="rId4"/>
            </p:custDataLst>
          </p:nvPr>
        </p:nvSpPr>
        <p:spPr>
          <a:xfrm>
            <a:off x="0" y="0"/>
            <a:ext cx="12192000" cy="6858000"/>
          </a:xfrm>
          <a:prstGeom prst="rect">
            <a:avLst/>
          </a:prstGeom>
          <a:solidFill>
            <a:srgbClr val="000000">
              <a:alpha val="61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29325" y="5877025"/>
            <a:ext cx="7228800" cy="609398"/>
          </a:xfrm>
        </p:spPr>
        <p:txBody>
          <a:bodyPr/>
          <a:lstStyle>
            <a:lvl1pPr>
              <a:defRPr sz="4400">
                <a:solidFill>
                  <a:srgbClr val="FFFFFF"/>
                </a:solidFill>
                <a:latin typeface="+mj-lt"/>
                <a:sym typeface="Trebuchet MS" panose="020B0603020202020204" pitchFamily="34" charset="0"/>
              </a:defRPr>
            </a:lvl1pPr>
          </a:lstStyle>
          <a:p>
            <a:r>
              <a:rPr lang="en-US" dirty="0"/>
              <a:t>Click to add title</a:t>
            </a:r>
          </a:p>
        </p:txBody>
      </p:sp>
      <p:sp>
        <p:nvSpPr>
          <p:cNvPr id="13" name="TextBox 12"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926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Title Only 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646" name="think-cell Slide" r:id="rId6" imgW="352" imgH="355" progId="TCLayout.ActiveDocument.1">
                  <p:embed/>
                </p:oleObj>
              </mc:Choice>
              <mc:Fallback>
                <p:oleObj name="think-cell Slide" r:id="rId6" imgW="352" imgH="355"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43526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3" name="Picture 2"/>
          <p:cNvPicPr>
            <a:picLocks noChangeAspect="1"/>
          </p:cNvPicPr>
          <p:nvPr userDrawn="1"/>
        </p:nvPicPr>
        <p:blipFill>
          <a:blip r:embed="rId8"/>
          <a:stretch>
            <a:fillRect/>
          </a:stretch>
        </p:blipFill>
        <p:spPr>
          <a:xfrm>
            <a:off x="0" y="0"/>
            <a:ext cx="12192000" cy="1744980"/>
          </a:xfrm>
          <a:prstGeom prst="rect">
            <a:avLst/>
          </a:prstGeom>
        </p:spPr>
      </p:pic>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9" name="Overlay"/>
          <p:cNvSpPr/>
          <p:nvPr userDrawn="1">
            <p:custDataLst>
              <p:tags r:id="rId4"/>
            </p:custDataLst>
          </p:nvPr>
        </p:nvSpPr>
        <p:spPr>
          <a:xfrm>
            <a:off x="-2" y="0"/>
            <a:ext cx="12192002" cy="1743075"/>
          </a:xfrm>
          <a:prstGeom prst="rect">
            <a:avLst/>
          </a:prstGeom>
          <a:solidFill>
            <a:schemeClr val="tx1">
              <a:alpha val="7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8" name="Title 7"/>
          <p:cNvSpPr>
            <a:spLocks noGrp="1"/>
          </p:cNvSpPr>
          <p:nvPr>
            <p:ph type="title" hasCustomPrompt="1"/>
          </p:nvPr>
        </p:nvSpPr>
        <p:spPr>
          <a:xfrm>
            <a:off x="630000" y="539139"/>
            <a:ext cx="10933350" cy="664797"/>
          </a:xfrm>
        </p:spPr>
        <p:txBody>
          <a:bodyPr/>
          <a:lstStyle>
            <a:lvl1pPr algn="ctr">
              <a:defRPr sz="4800">
                <a:solidFill>
                  <a:srgbClr val="FFFFFF"/>
                </a:solidFill>
                <a:latin typeface="+mj-lt"/>
                <a:sym typeface="Trebuchet MS" panose="020B0603020202020204" pitchFamily="34" charset="0"/>
              </a:defRPr>
            </a:lvl1pPr>
          </a:lstStyle>
          <a:p>
            <a:r>
              <a:rPr lang="en-US" dirty="0"/>
              <a:t>Click to add title</a:t>
            </a:r>
          </a:p>
        </p:txBody>
      </p:sp>
      <p:sp>
        <p:nvSpPr>
          <p:cNvPr id="4" name="Rectangle 3"/>
          <p:cNvSpPr/>
          <p:nvPr userDrawn="1"/>
        </p:nvSpPr>
        <p:spPr>
          <a:xfrm>
            <a:off x="-1" y="1743075"/>
            <a:ext cx="12192002" cy="5114925"/>
          </a:xfrm>
          <a:prstGeom prst="rect">
            <a:avLst/>
          </a:prstGeom>
          <a:solidFill>
            <a:srgbClr val="435264"/>
          </a:solidFill>
          <a:ln w="9525" cap="rnd" cmpd="sng" algn="ctr">
            <a:solidFill>
              <a:srgbClr val="43526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Rectangle 4"/>
          <p:cNvSpPr/>
          <p:nvPr userDrawn="1"/>
        </p:nvSpPr>
        <p:spPr>
          <a:xfrm>
            <a:off x="-1" y="1743075"/>
            <a:ext cx="12192002" cy="390525"/>
          </a:xfrm>
          <a:prstGeom prst="rect">
            <a:avLst/>
          </a:prstGeom>
          <a:gradFill flip="none" rotWithShape="1">
            <a:gsLst>
              <a:gs pos="0">
                <a:schemeClr val="tx1">
                  <a:lumMod val="50000"/>
                </a:schemeClr>
              </a:gs>
              <a:gs pos="100000">
                <a:schemeClr val="tx1"/>
              </a:gs>
            </a:gsLst>
            <a:lin ang="54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 name="TextBox 12"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762779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670"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b="1">
                <a:solidFill>
                  <a:srgbClr val="435264"/>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8701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69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435264"/>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b="1">
                <a:solidFill>
                  <a:srgbClr val="435264"/>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36421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71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rgbClr val="435264"/>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43526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4876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74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b="1">
                <a:solidFill>
                  <a:srgbClr val="435264"/>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43526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5288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76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b="1">
                <a:solidFill>
                  <a:srgbClr val="435264"/>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6412852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2C2C2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790"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b="1">
                <a:solidFill>
                  <a:srgbClr val="435264"/>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138235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2C2C2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814"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b="1">
                <a:solidFill>
                  <a:srgbClr val="435264"/>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5599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3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b="1">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56263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2C2C2C"/>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5D3CF6DB-721B-4276-85C2-AF91D8609EC3}"/>
              </a:ext>
            </a:extLst>
          </p:cNvPr>
          <p:cNvSpPr/>
          <p:nvPr userDrawn="1">
            <p:custDataLst>
              <p:tags r:id="rId3"/>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3" name="Object 2"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862" name="think-cell Slide" r:id="rId7" imgW="352" imgH="355" progId="TCLayout.ActiveDocument.1">
                  <p:embed/>
                </p:oleObj>
              </mc:Choice>
              <mc:Fallback>
                <p:oleObj name="think-cell Slide" r:id="rId7" imgW="352" imgH="355"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b="1">
                <a:solidFill>
                  <a:schemeClr val="bg1"/>
                </a:solidFill>
                <a:latin typeface="+mj-lt"/>
                <a:sym typeface="Trebuchet MS" panose="020B0603020202020204" pitchFamily="34" charset="0"/>
              </a:defRPr>
            </a:lvl1pPr>
          </a:lstStyle>
          <a:p>
            <a:r>
              <a:rPr lang="en-US" dirty="0"/>
              <a:t>Click to add title</a:t>
            </a:r>
          </a:p>
        </p:txBody>
      </p:sp>
      <p:sp>
        <p:nvSpPr>
          <p:cNvPr id="14" name="TextBox 13"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69515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88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b="1">
                <a:solidFill>
                  <a:schemeClr val="bg1"/>
                </a:solidFill>
                <a:latin typeface="+mj-lt"/>
                <a:sym typeface="Trebuchet MS" panose="020B0603020202020204" pitchFamily="34" charset="0"/>
              </a:defRPr>
            </a:lvl1pPr>
          </a:lstStyle>
          <a:p>
            <a:r>
              <a:rPr lang="en-US" dirty="0"/>
              <a:t>Click to add title</a:t>
            </a:r>
          </a:p>
        </p:txBody>
      </p:sp>
      <p:sp>
        <p:nvSpPr>
          <p:cNvPr id="14" name="TextBox 13"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4227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910"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a:xfrm>
            <a:off x="0" y="0"/>
            <a:ext cx="12192000" cy="6858000"/>
          </a:xfrm>
          <a:prstGeom prst="rect">
            <a:avLst/>
          </a:prstGeom>
          <a:blipFill>
            <a:blip r:embed="rId8">
              <a:alphaModFix amt="10000"/>
            </a:blip>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5" name="Group 24"/>
          <p:cNvGrpSpPr/>
          <p:nvPr userDrawn="1"/>
        </p:nvGrpSpPr>
        <p:grpSpPr>
          <a:xfrm>
            <a:off x="1524" y="1310"/>
            <a:ext cx="4104210" cy="6858000"/>
            <a:chOff x="152400" y="152400"/>
            <a:chExt cx="4104210" cy="6858000"/>
          </a:xfrm>
        </p:grpSpPr>
        <p:sp>
          <p:nvSpPr>
            <p:cNvPr id="26" name="Freeform 25"/>
            <p:cNvSpPr/>
            <p:nvPr userDrawn="1"/>
          </p:nvSpPr>
          <p:spPr bwMode="ltGray">
            <a:xfrm>
              <a:off x="152400" y="152400"/>
              <a:ext cx="3805920" cy="6858000"/>
            </a:xfrm>
            <a:custGeom>
              <a:avLst/>
              <a:gdLst>
                <a:gd name="connsiteX0" fmla="*/ 0 w 3805920"/>
                <a:gd name="connsiteY0" fmla="*/ 0 h 6858000"/>
                <a:gd name="connsiteX1" fmla="*/ 3264933 w 3805920"/>
                <a:gd name="connsiteY1" fmla="*/ 0 h 6858000"/>
                <a:gd name="connsiteX2" fmla="*/ 3805920 w 3805920"/>
                <a:gd name="connsiteY2" fmla="*/ 2252964 h 6858000"/>
                <a:gd name="connsiteX3" fmla="*/ 1710900 w 3805920"/>
                <a:gd name="connsiteY3" fmla="*/ 6858000 h 6858000"/>
                <a:gd name="connsiteX4" fmla="*/ 0 w 3805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920" h="6858000">
                  <a:moveTo>
                    <a:pt x="0" y="0"/>
                  </a:moveTo>
                  <a:lnTo>
                    <a:pt x="3264933" y="0"/>
                  </a:lnTo>
                  <a:lnTo>
                    <a:pt x="3805920" y="2252964"/>
                  </a:lnTo>
                  <a:lnTo>
                    <a:pt x="17109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27" name="Group 26"/>
            <p:cNvGrpSpPr/>
            <p:nvPr userDrawn="1"/>
          </p:nvGrpSpPr>
          <p:grpSpPr>
            <a:xfrm>
              <a:off x="1745005" y="152400"/>
              <a:ext cx="2511605" cy="6858000"/>
              <a:chOff x="1705620" y="0"/>
              <a:chExt cx="2511605" cy="6858000"/>
            </a:xfrm>
          </p:grpSpPr>
          <p:sp>
            <p:nvSpPr>
              <p:cNvPr id="28" name="Freeform 27"/>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 name="Parallelogram 28"/>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sp>
        <p:nvSpPr>
          <p:cNvPr id="3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b="1" baseline="0">
                <a:solidFill>
                  <a:srgbClr val="435264"/>
                </a:solidFill>
                <a:latin typeface="+mj-lt"/>
                <a:sym typeface="Trebuchet MS" panose="020B0603020202020204" pitchFamily="34" charset="0"/>
              </a:defRPr>
            </a:lvl1pPr>
          </a:lstStyle>
          <a:p>
            <a:r>
              <a:rPr lang="en-US" dirty="0">
                <a:solidFill>
                  <a:schemeClr val="tx2"/>
                </a:solidFill>
              </a:rPr>
              <a:t>Click to add title</a:t>
            </a:r>
          </a:p>
        </p:txBody>
      </p:sp>
    </p:spTree>
    <p:extLst>
      <p:ext uri="{BB962C8B-B14F-4D97-AF65-F5344CB8AC3E}">
        <p14:creationId xmlns:p14="http://schemas.microsoft.com/office/powerpoint/2010/main" val="90383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93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reeform 19"/>
          <p:cNvSpPr/>
          <p:nvPr userDrawn="1"/>
        </p:nvSpPr>
        <p:spPr bwMode="ltGray">
          <a:xfrm>
            <a:off x="0" y="0"/>
            <a:ext cx="3805920" cy="6858000"/>
          </a:xfrm>
          <a:custGeom>
            <a:avLst/>
            <a:gdLst>
              <a:gd name="connsiteX0" fmla="*/ 0 w 3805920"/>
              <a:gd name="connsiteY0" fmla="*/ 0 h 6858000"/>
              <a:gd name="connsiteX1" fmla="*/ 3264933 w 3805920"/>
              <a:gd name="connsiteY1" fmla="*/ 0 h 6858000"/>
              <a:gd name="connsiteX2" fmla="*/ 3805920 w 3805920"/>
              <a:gd name="connsiteY2" fmla="*/ 2252964 h 6858000"/>
              <a:gd name="connsiteX3" fmla="*/ 1710900 w 3805920"/>
              <a:gd name="connsiteY3" fmla="*/ 6858000 h 6858000"/>
              <a:gd name="connsiteX4" fmla="*/ 0 w 3805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920" h="6858000">
                <a:moveTo>
                  <a:pt x="0" y="0"/>
                </a:moveTo>
                <a:lnTo>
                  <a:pt x="3264933" y="0"/>
                </a:lnTo>
                <a:lnTo>
                  <a:pt x="3805920" y="2252964"/>
                </a:lnTo>
                <a:lnTo>
                  <a:pt x="1710900" y="6858000"/>
                </a:lnTo>
                <a:lnTo>
                  <a:pt x="0" y="6858000"/>
                </a:lnTo>
                <a:close/>
              </a:path>
            </a:pathLst>
          </a:cu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sp>
        <p:nvSpPr>
          <p:cNvPr id="21" name="Freeform 20"/>
          <p:cNvSpPr/>
          <p:nvPr userDrawn="1"/>
        </p:nvSpPr>
        <p:spPr bwMode="ltGray">
          <a:xfrm>
            <a:off x="0" y="0"/>
            <a:ext cx="3805920" cy="6858000"/>
          </a:xfrm>
          <a:custGeom>
            <a:avLst/>
            <a:gdLst>
              <a:gd name="connsiteX0" fmla="*/ 0 w 3805920"/>
              <a:gd name="connsiteY0" fmla="*/ 0 h 6858000"/>
              <a:gd name="connsiteX1" fmla="*/ 3264933 w 3805920"/>
              <a:gd name="connsiteY1" fmla="*/ 0 h 6858000"/>
              <a:gd name="connsiteX2" fmla="*/ 3805920 w 3805920"/>
              <a:gd name="connsiteY2" fmla="*/ 2252964 h 6858000"/>
              <a:gd name="connsiteX3" fmla="*/ 1710900 w 3805920"/>
              <a:gd name="connsiteY3" fmla="*/ 6858000 h 6858000"/>
              <a:gd name="connsiteX4" fmla="*/ 0 w 3805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920" h="6858000">
                <a:moveTo>
                  <a:pt x="0" y="0"/>
                </a:moveTo>
                <a:lnTo>
                  <a:pt x="3264933" y="0"/>
                </a:lnTo>
                <a:lnTo>
                  <a:pt x="3805920" y="2252964"/>
                </a:lnTo>
                <a:lnTo>
                  <a:pt x="1710900" y="6858000"/>
                </a:lnTo>
                <a:lnTo>
                  <a:pt x="0" y="6858000"/>
                </a:lnTo>
                <a:close/>
              </a:path>
            </a:pathLst>
          </a:custGeom>
          <a:blipFill dpi="0" rotWithShape="1">
            <a:blip r:embed="rId7">
              <a:alphaModFix amt="10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22" name="Group 21"/>
          <p:cNvGrpSpPr/>
          <p:nvPr userDrawn="1"/>
        </p:nvGrpSpPr>
        <p:grpSpPr>
          <a:xfrm>
            <a:off x="1592605" y="0"/>
            <a:ext cx="2511605" cy="6858000"/>
            <a:chOff x="1705620" y="0"/>
            <a:chExt cx="2511605" cy="6858000"/>
          </a:xfrm>
        </p:grpSpPr>
        <p:sp>
          <p:nvSpPr>
            <p:cNvPr id="23" name="Freeform 22"/>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Parallelogram 23"/>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5" name="Title 4"/>
          <p:cNvSpPr>
            <a:spLocks noGrp="1"/>
          </p:cNvSpPr>
          <p:nvPr>
            <p:ph type="title" hasCustomPrompt="1"/>
          </p:nvPr>
        </p:nvSpPr>
        <p:spPr>
          <a:xfrm>
            <a:off x="630000" y="2764203"/>
            <a:ext cx="2478638" cy="1314311"/>
          </a:xfrm>
        </p:spPr>
        <p:txBody>
          <a:bodyPr anchor="ctr" anchorCtr="0">
            <a:noAutofit/>
          </a:bodyPr>
          <a:lstStyle>
            <a:lvl1pPr>
              <a:defRPr b="1">
                <a:solidFill>
                  <a:srgbClr val="FFFFFF"/>
                </a:solidFill>
                <a:latin typeface="+mj-lt"/>
              </a:defRPr>
            </a:lvl1pPr>
          </a:lstStyle>
          <a:p>
            <a:r>
              <a:rPr lang="en-US" dirty="0"/>
              <a:t>Click to add title</a:t>
            </a:r>
          </a:p>
        </p:txBody>
      </p:sp>
    </p:spTree>
    <p:extLst>
      <p:ext uri="{BB962C8B-B14F-4D97-AF65-F5344CB8AC3E}">
        <p14:creationId xmlns:p14="http://schemas.microsoft.com/office/powerpoint/2010/main" val="2544589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95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2" name="Rectangle 21"/>
          <p:cNvSpPr/>
          <p:nvPr userDrawn="1"/>
        </p:nvSpPr>
        <p:spPr>
          <a:xfrm>
            <a:off x="0" y="0"/>
            <a:ext cx="12192000" cy="6858000"/>
          </a:xfrm>
          <a:prstGeom prst="rect">
            <a:avLst/>
          </a:prstGeom>
          <a:blipFill>
            <a:blip r:embed="rId8">
              <a:alphaModFix amt="10000"/>
            </a:blip>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TextBox 8"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grpSp>
        <p:nvGrpSpPr>
          <p:cNvPr id="13" name="Group 12"/>
          <p:cNvGrpSpPr/>
          <p:nvPr userDrawn="1"/>
        </p:nvGrpSpPr>
        <p:grpSpPr>
          <a:xfrm>
            <a:off x="0" y="0"/>
            <a:ext cx="5809832" cy="6858000"/>
            <a:chOff x="0" y="0"/>
            <a:chExt cx="5809832" cy="6858000"/>
          </a:xfrm>
        </p:grpSpPr>
        <p:sp>
          <p:nvSpPr>
            <p:cNvPr id="14" name="Freeform 13"/>
            <p:cNvSpPr/>
            <p:nvPr userDrawn="1"/>
          </p:nvSpPr>
          <p:spPr bwMode="ltGray">
            <a:xfrm>
              <a:off x="0" y="0"/>
              <a:ext cx="5511542" cy="6858000"/>
            </a:xfrm>
            <a:custGeom>
              <a:avLst/>
              <a:gdLst>
                <a:gd name="connsiteX0" fmla="*/ 0 w 5511542"/>
                <a:gd name="connsiteY0" fmla="*/ 0 h 6858000"/>
                <a:gd name="connsiteX1" fmla="*/ 1705622 w 5511542"/>
                <a:gd name="connsiteY1" fmla="*/ 0 h 6858000"/>
                <a:gd name="connsiteX2" fmla="*/ 2019300 w 5511542"/>
                <a:gd name="connsiteY2" fmla="*/ 0 h 6858000"/>
                <a:gd name="connsiteX3" fmla="*/ 4970555 w 5511542"/>
                <a:gd name="connsiteY3" fmla="*/ 0 h 6858000"/>
                <a:gd name="connsiteX4" fmla="*/ 5511542 w 5511542"/>
                <a:gd name="connsiteY4" fmla="*/ 2252964 h 6858000"/>
                <a:gd name="connsiteX5" fmla="*/ 3416522 w 5511542"/>
                <a:gd name="connsiteY5" fmla="*/ 6858000 h 6858000"/>
                <a:gd name="connsiteX6" fmla="*/ 2019300 w 5511542"/>
                <a:gd name="connsiteY6" fmla="*/ 6858000 h 6858000"/>
                <a:gd name="connsiteX7" fmla="*/ 1705622 w 5511542"/>
                <a:gd name="connsiteY7" fmla="*/ 6858000 h 6858000"/>
                <a:gd name="connsiteX8" fmla="*/ 0 w 5511542"/>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11542" h="6858000">
                  <a:moveTo>
                    <a:pt x="0" y="0"/>
                  </a:moveTo>
                  <a:lnTo>
                    <a:pt x="1705622" y="0"/>
                  </a:lnTo>
                  <a:lnTo>
                    <a:pt x="2019300" y="0"/>
                  </a:lnTo>
                  <a:lnTo>
                    <a:pt x="4970555" y="0"/>
                  </a:lnTo>
                  <a:lnTo>
                    <a:pt x="5511542" y="2252964"/>
                  </a:lnTo>
                  <a:lnTo>
                    <a:pt x="3416522" y="6858000"/>
                  </a:lnTo>
                  <a:lnTo>
                    <a:pt x="2019300" y="6858000"/>
                  </a:lnTo>
                  <a:lnTo>
                    <a:pt x="1705622"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5" name="Group 14"/>
            <p:cNvGrpSpPr/>
            <p:nvPr userDrawn="1"/>
          </p:nvGrpSpPr>
          <p:grpSpPr>
            <a:xfrm>
              <a:off x="3298227" y="0"/>
              <a:ext cx="2511605" cy="6858000"/>
              <a:chOff x="1705620" y="0"/>
              <a:chExt cx="2511605" cy="6858000"/>
            </a:xfrm>
          </p:grpSpPr>
          <p:sp>
            <p:nvSpPr>
              <p:cNvPr id="16" name="Freeform 15"/>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Parallelogram 17"/>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sp>
        <p:nvSpPr>
          <p:cNvPr id="21"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435264"/>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01059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98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grpSp>
        <p:nvGrpSpPr>
          <p:cNvPr id="23" name="Group 22"/>
          <p:cNvGrpSpPr/>
          <p:nvPr userDrawn="1"/>
        </p:nvGrpSpPr>
        <p:grpSpPr>
          <a:xfrm>
            <a:off x="0" y="0"/>
            <a:ext cx="5809832" cy="6858000"/>
            <a:chOff x="0" y="0"/>
            <a:chExt cx="5809832" cy="6858000"/>
          </a:xfrm>
        </p:grpSpPr>
        <p:sp>
          <p:nvSpPr>
            <p:cNvPr id="24" name="Freeform 23"/>
            <p:cNvSpPr/>
            <p:nvPr userDrawn="1"/>
          </p:nvSpPr>
          <p:spPr bwMode="ltGray">
            <a:xfrm>
              <a:off x="0" y="0"/>
              <a:ext cx="5511542" cy="6858000"/>
            </a:xfrm>
            <a:custGeom>
              <a:avLst/>
              <a:gdLst>
                <a:gd name="connsiteX0" fmla="*/ 0 w 5511542"/>
                <a:gd name="connsiteY0" fmla="*/ 0 h 6858000"/>
                <a:gd name="connsiteX1" fmla="*/ 1705622 w 5511542"/>
                <a:gd name="connsiteY1" fmla="*/ 0 h 6858000"/>
                <a:gd name="connsiteX2" fmla="*/ 2019300 w 5511542"/>
                <a:gd name="connsiteY2" fmla="*/ 0 h 6858000"/>
                <a:gd name="connsiteX3" fmla="*/ 4970555 w 5511542"/>
                <a:gd name="connsiteY3" fmla="*/ 0 h 6858000"/>
                <a:gd name="connsiteX4" fmla="*/ 5511542 w 5511542"/>
                <a:gd name="connsiteY4" fmla="*/ 2252964 h 6858000"/>
                <a:gd name="connsiteX5" fmla="*/ 3416522 w 5511542"/>
                <a:gd name="connsiteY5" fmla="*/ 6858000 h 6858000"/>
                <a:gd name="connsiteX6" fmla="*/ 2019300 w 5511542"/>
                <a:gd name="connsiteY6" fmla="*/ 6858000 h 6858000"/>
                <a:gd name="connsiteX7" fmla="*/ 1705622 w 5511542"/>
                <a:gd name="connsiteY7" fmla="*/ 6858000 h 6858000"/>
                <a:gd name="connsiteX8" fmla="*/ 0 w 5511542"/>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11542" h="6858000">
                  <a:moveTo>
                    <a:pt x="0" y="0"/>
                  </a:moveTo>
                  <a:lnTo>
                    <a:pt x="1705622" y="0"/>
                  </a:lnTo>
                  <a:lnTo>
                    <a:pt x="2019300" y="0"/>
                  </a:lnTo>
                  <a:lnTo>
                    <a:pt x="4970555" y="0"/>
                  </a:lnTo>
                  <a:lnTo>
                    <a:pt x="5511542" y="2252964"/>
                  </a:lnTo>
                  <a:lnTo>
                    <a:pt x="3416522" y="6858000"/>
                  </a:lnTo>
                  <a:lnTo>
                    <a:pt x="2019300" y="6858000"/>
                  </a:lnTo>
                  <a:lnTo>
                    <a:pt x="1705622" y="6858000"/>
                  </a:lnTo>
                  <a:lnTo>
                    <a:pt x="0" y="6858000"/>
                  </a:lnTo>
                  <a:close/>
                </a:path>
              </a:pathLst>
            </a:cu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sp>
          <p:nvSpPr>
            <p:cNvPr id="25" name="Freeform 24"/>
            <p:cNvSpPr/>
            <p:nvPr userDrawn="1"/>
          </p:nvSpPr>
          <p:spPr bwMode="ltGray">
            <a:xfrm>
              <a:off x="0" y="0"/>
              <a:ext cx="5511542" cy="6858000"/>
            </a:xfrm>
            <a:custGeom>
              <a:avLst/>
              <a:gdLst>
                <a:gd name="connsiteX0" fmla="*/ 0 w 5511542"/>
                <a:gd name="connsiteY0" fmla="*/ 0 h 6858000"/>
                <a:gd name="connsiteX1" fmla="*/ 1705622 w 5511542"/>
                <a:gd name="connsiteY1" fmla="*/ 0 h 6858000"/>
                <a:gd name="connsiteX2" fmla="*/ 2019300 w 5511542"/>
                <a:gd name="connsiteY2" fmla="*/ 0 h 6858000"/>
                <a:gd name="connsiteX3" fmla="*/ 4970555 w 5511542"/>
                <a:gd name="connsiteY3" fmla="*/ 0 h 6858000"/>
                <a:gd name="connsiteX4" fmla="*/ 5511542 w 5511542"/>
                <a:gd name="connsiteY4" fmla="*/ 2252964 h 6858000"/>
                <a:gd name="connsiteX5" fmla="*/ 3416522 w 5511542"/>
                <a:gd name="connsiteY5" fmla="*/ 6858000 h 6858000"/>
                <a:gd name="connsiteX6" fmla="*/ 2019300 w 5511542"/>
                <a:gd name="connsiteY6" fmla="*/ 6858000 h 6858000"/>
                <a:gd name="connsiteX7" fmla="*/ 1705622 w 5511542"/>
                <a:gd name="connsiteY7" fmla="*/ 6858000 h 6858000"/>
                <a:gd name="connsiteX8" fmla="*/ 0 w 5511542"/>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11542" h="6858000">
                  <a:moveTo>
                    <a:pt x="0" y="0"/>
                  </a:moveTo>
                  <a:lnTo>
                    <a:pt x="1705622" y="0"/>
                  </a:lnTo>
                  <a:lnTo>
                    <a:pt x="2019300" y="0"/>
                  </a:lnTo>
                  <a:lnTo>
                    <a:pt x="4970555" y="0"/>
                  </a:lnTo>
                  <a:lnTo>
                    <a:pt x="5511542" y="2252964"/>
                  </a:lnTo>
                  <a:lnTo>
                    <a:pt x="3416522" y="6858000"/>
                  </a:lnTo>
                  <a:lnTo>
                    <a:pt x="2019300" y="6858000"/>
                  </a:lnTo>
                  <a:lnTo>
                    <a:pt x="1705622" y="6858000"/>
                  </a:lnTo>
                  <a:lnTo>
                    <a:pt x="0" y="6858000"/>
                  </a:lnTo>
                  <a:close/>
                </a:path>
              </a:pathLst>
            </a:custGeom>
            <a:blipFill>
              <a:blip r:embed="rId7">
                <a:alphaModFix amt="10000"/>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26" name="Group 25"/>
            <p:cNvGrpSpPr/>
            <p:nvPr userDrawn="1"/>
          </p:nvGrpSpPr>
          <p:grpSpPr>
            <a:xfrm>
              <a:off x="3298227" y="0"/>
              <a:ext cx="2511605" cy="6858000"/>
              <a:chOff x="1705620" y="0"/>
              <a:chExt cx="2511605" cy="6858000"/>
            </a:xfrm>
          </p:grpSpPr>
          <p:sp>
            <p:nvSpPr>
              <p:cNvPr id="27" name="Freeform 26"/>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8" name="Parallelogram 27"/>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sp>
        <p:nvSpPr>
          <p:cNvPr id="29"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14724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2C2C2C"/>
        </a:solidFill>
        <a:effectLst/>
      </p:bgPr>
    </p:bg>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FAE5E1D3-B0A8-4AA9-8A8C-03BD1A99AD84}"/>
              </a:ext>
            </a:extLst>
          </p:cNvPr>
          <p:cNvSpPr/>
          <p:nvPr userDrawn="1">
            <p:custDataLst>
              <p:tags r:id="rId3"/>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4" name="Object 3"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006" name="think-cell Slide" r:id="rId7" imgW="352" imgH="355" progId="TCLayout.ActiveDocument.1">
                  <p:embed/>
                </p:oleObj>
              </mc:Choice>
              <mc:Fallback>
                <p:oleObj name="think-cell Slide" r:id="rId7" imgW="352" imgH="355"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Rectangle 10"/>
          <p:cNvSpPr/>
          <p:nvPr userDrawn="1"/>
        </p:nvSpPr>
        <p:spPr>
          <a:xfrm>
            <a:off x="0" y="0"/>
            <a:ext cx="12192000" cy="6858000"/>
          </a:xfrm>
          <a:prstGeom prst="rect">
            <a:avLst/>
          </a:prstGeom>
          <a:blipFill>
            <a:blip r:embed="rId9">
              <a:alphaModFix amt="10000"/>
            </a:blip>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4" name="Group 13"/>
          <p:cNvGrpSpPr/>
          <p:nvPr userDrawn="1"/>
        </p:nvGrpSpPr>
        <p:grpSpPr>
          <a:xfrm>
            <a:off x="0" y="0"/>
            <a:ext cx="6712446" cy="6858000"/>
            <a:chOff x="0" y="0"/>
            <a:chExt cx="6712446" cy="6858000"/>
          </a:xfrm>
        </p:grpSpPr>
        <p:sp>
          <p:nvSpPr>
            <p:cNvPr id="15" name="Freeform 14"/>
            <p:cNvSpPr/>
            <p:nvPr userDrawn="1"/>
          </p:nvSpPr>
          <p:spPr bwMode="ltGray">
            <a:xfrm>
              <a:off x="0" y="0"/>
              <a:ext cx="6414156" cy="6858000"/>
            </a:xfrm>
            <a:custGeom>
              <a:avLst/>
              <a:gdLst>
                <a:gd name="connsiteX0" fmla="*/ 0 w 6414156"/>
                <a:gd name="connsiteY0" fmla="*/ 0 h 6858000"/>
                <a:gd name="connsiteX1" fmla="*/ 902614 w 6414156"/>
                <a:gd name="connsiteY1" fmla="*/ 0 h 6858000"/>
                <a:gd name="connsiteX2" fmla="*/ 1447800 w 6414156"/>
                <a:gd name="connsiteY2" fmla="*/ 0 h 6858000"/>
                <a:gd name="connsiteX3" fmla="*/ 2608236 w 6414156"/>
                <a:gd name="connsiteY3" fmla="*/ 0 h 6858000"/>
                <a:gd name="connsiteX4" fmla="*/ 2921914 w 6414156"/>
                <a:gd name="connsiteY4" fmla="*/ 0 h 6858000"/>
                <a:gd name="connsiteX5" fmla="*/ 5873169 w 6414156"/>
                <a:gd name="connsiteY5" fmla="*/ 0 h 6858000"/>
                <a:gd name="connsiteX6" fmla="*/ 6414156 w 6414156"/>
                <a:gd name="connsiteY6" fmla="*/ 2252964 h 6858000"/>
                <a:gd name="connsiteX7" fmla="*/ 4319136 w 6414156"/>
                <a:gd name="connsiteY7" fmla="*/ 6858000 h 6858000"/>
                <a:gd name="connsiteX8" fmla="*/ 2921914 w 6414156"/>
                <a:gd name="connsiteY8" fmla="*/ 6858000 h 6858000"/>
                <a:gd name="connsiteX9" fmla="*/ 2608236 w 6414156"/>
                <a:gd name="connsiteY9" fmla="*/ 6858000 h 6858000"/>
                <a:gd name="connsiteX10" fmla="*/ 1447800 w 6414156"/>
                <a:gd name="connsiteY10" fmla="*/ 6858000 h 6858000"/>
                <a:gd name="connsiteX11" fmla="*/ 902614 w 6414156"/>
                <a:gd name="connsiteY11" fmla="*/ 6858000 h 6858000"/>
                <a:gd name="connsiteX12" fmla="*/ 0 w 641415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4156" h="6858000">
                  <a:moveTo>
                    <a:pt x="0" y="0"/>
                  </a:moveTo>
                  <a:lnTo>
                    <a:pt x="902614" y="0"/>
                  </a:lnTo>
                  <a:lnTo>
                    <a:pt x="1447800" y="0"/>
                  </a:lnTo>
                  <a:lnTo>
                    <a:pt x="2608236" y="0"/>
                  </a:lnTo>
                  <a:lnTo>
                    <a:pt x="2921914" y="0"/>
                  </a:lnTo>
                  <a:lnTo>
                    <a:pt x="5873169" y="0"/>
                  </a:lnTo>
                  <a:lnTo>
                    <a:pt x="6414156" y="2252964"/>
                  </a:lnTo>
                  <a:lnTo>
                    <a:pt x="4319136" y="6858000"/>
                  </a:lnTo>
                  <a:lnTo>
                    <a:pt x="2921914" y="6858000"/>
                  </a:lnTo>
                  <a:lnTo>
                    <a:pt x="2608236" y="6858000"/>
                  </a:lnTo>
                  <a:lnTo>
                    <a:pt x="1447800" y="6858000"/>
                  </a:lnTo>
                  <a:lnTo>
                    <a:pt x="902614"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7" name="Group 16"/>
            <p:cNvGrpSpPr/>
            <p:nvPr userDrawn="1"/>
          </p:nvGrpSpPr>
          <p:grpSpPr>
            <a:xfrm>
              <a:off x="4200841" y="0"/>
              <a:ext cx="2511605" cy="6858000"/>
              <a:chOff x="1705620" y="0"/>
              <a:chExt cx="2511605" cy="6858000"/>
            </a:xfrm>
          </p:grpSpPr>
          <p:sp>
            <p:nvSpPr>
              <p:cNvPr id="19" name="Freeform 18"/>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 name="Parallelogram 19"/>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sp>
        <p:nvSpPr>
          <p:cNvPr id="3" name="Title 2"/>
          <p:cNvSpPr>
            <a:spLocks noGrp="1"/>
          </p:cNvSpPr>
          <p:nvPr>
            <p:ph type="title" hasCustomPrompt="1"/>
          </p:nvPr>
        </p:nvSpPr>
        <p:spPr>
          <a:xfrm>
            <a:off x="630000" y="622800"/>
            <a:ext cx="4747822" cy="332399"/>
          </a:xfrm>
          <a:prstGeom prst="rect">
            <a:avLst/>
          </a:prstGeom>
        </p:spPr>
        <p:txBody>
          <a:bodyPr/>
          <a:lstStyle>
            <a:lvl1pPr>
              <a:defRPr b="1">
                <a:solidFill>
                  <a:srgbClr val="43526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3561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03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Freeform 11"/>
          <p:cNvSpPr/>
          <p:nvPr userDrawn="1"/>
        </p:nvSpPr>
        <p:spPr bwMode="ltGray">
          <a:xfrm>
            <a:off x="0" y="0"/>
            <a:ext cx="6414156" cy="6858000"/>
          </a:xfrm>
          <a:custGeom>
            <a:avLst/>
            <a:gdLst>
              <a:gd name="connsiteX0" fmla="*/ 0 w 6414156"/>
              <a:gd name="connsiteY0" fmla="*/ 0 h 6858000"/>
              <a:gd name="connsiteX1" fmla="*/ 902614 w 6414156"/>
              <a:gd name="connsiteY1" fmla="*/ 0 h 6858000"/>
              <a:gd name="connsiteX2" fmla="*/ 1447800 w 6414156"/>
              <a:gd name="connsiteY2" fmla="*/ 0 h 6858000"/>
              <a:gd name="connsiteX3" fmla="*/ 2608236 w 6414156"/>
              <a:gd name="connsiteY3" fmla="*/ 0 h 6858000"/>
              <a:gd name="connsiteX4" fmla="*/ 2921914 w 6414156"/>
              <a:gd name="connsiteY4" fmla="*/ 0 h 6858000"/>
              <a:gd name="connsiteX5" fmla="*/ 5873169 w 6414156"/>
              <a:gd name="connsiteY5" fmla="*/ 0 h 6858000"/>
              <a:gd name="connsiteX6" fmla="*/ 6414156 w 6414156"/>
              <a:gd name="connsiteY6" fmla="*/ 2252964 h 6858000"/>
              <a:gd name="connsiteX7" fmla="*/ 4319136 w 6414156"/>
              <a:gd name="connsiteY7" fmla="*/ 6858000 h 6858000"/>
              <a:gd name="connsiteX8" fmla="*/ 2921914 w 6414156"/>
              <a:gd name="connsiteY8" fmla="*/ 6858000 h 6858000"/>
              <a:gd name="connsiteX9" fmla="*/ 2608236 w 6414156"/>
              <a:gd name="connsiteY9" fmla="*/ 6858000 h 6858000"/>
              <a:gd name="connsiteX10" fmla="*/ 1447800 w 6414156"/>
              <a:gd name="connsiteY10" fmla="*/ 6858000 h 6858000"/>
              <a:gd name="connsiteX11" fmla="*/ 902614 w 6414156"/>
              <a:gd name="connsiteY11" fmla="*/ 6858000 h 6858000"/>
              <a:gd name="connsiteX12" fmla="*/ 0 w 641415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4156" h="6858000">
                <a:moveTo>
                  <a:pt x="0" y="0"/>
                </a:moveTo>
                <a:lnTo>
                  <a:pt x="902614" y="0"/>
                </a:lnTo>
                <a:lnTo>
                  <a:pt x="1447800" y="0"/>
                </a:lnTo>
                <a:lnTo>
                  <a:pt x="2608236" y="0"/>
                </a:lnTo>
                <a:lnTo>
                  <a:pt x="2921914" y="0"/>
                </a:lnTo>
                <a:lnTo>
                  <a:pt x="5873169" y="0"/>
                </a:lnTo>
                <a:lnTo>
                  <a:pt x="6414156" y="2252964"/>
                </a:lnTo>
                <a:lnTo>
                  <a:pt x="4319136" y="6858000"/>
                </a:lnTo>
                <a:lnTo>
                  <a:pt x="2921914" y="6858000"/>
                </a:lnTo>
                <a:lnTo>
                  <a:pt x="2608236" y="6858000"/>
                </a:lnTo>
                <a:lnTo>
                  <a:pt x="1447800" y="6858000"/>
                </a:lnTo>
                <a:lnTo>
                  <a:pt x="902614" y="6858000"/>
                </a:lnTo>
                <a:lnTo>
                  <a:pt x="0" y="6858000"/>
                </a:lnTo>
                <a:close/>
              </a:path>
            </a:pathLst>
          </a:cu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sp>
        <p:nvSpPr>
          <p:cNvPr id="13" name="Freeform 12"/>
          <p:cNvSpPr/>
          <p:nvPr userDrawn="1"/>
        </p:nvSpPr>
        <p:spPr bwMode="ltGray">
          <a:xfrm>
            <a:off x="0" y="0"/>
            <a:ext cx="6414156" cy="6858000"/>
          </a:xfrm>
          <a:custGeom>
            <a:avLst/>
            <a:gdLst>
              <a:gd name="connsiteX0" fmla="*/ 0 w 6414156"/>
              <a:gd name="connsiteY0" fmla="*/ 0 h 6858000"/>
              <a:gd name="connsiteX1" fmla="*/ 902614 w 6414156"/>
              <a:gd name="connsiteY1" fmla="*/ 0 h 6858000"/>
              <a:gd name="connsiteX2" fmla="*/ 1447800 w 6414156"/>
              <a:gd name="connsiteY2" fmla="*/ 0 h 6858000"/>
              <a:gd name="connsiteX3" fmla="*/ 2608236 w 6414156"/>
              <a:gd name="connsiteY3" fmla="*/ 0 h 6858000"/>
              <a:gd name="connsiteX4" fmla="*/ 2921914 w 6414156"/>
              <a:gd name="connsiteY4" fmla="*/ 0 h 6858000"/>
              <a:gd name="connsiteX5" fmla="*/ 5873169 w 6414156"/>
              <a:gd name="connsiteY5" fmla="*/ 0 h 6858000"/>
              <a:gd name="connsiteX6" fmla="*/ 6414156 w 6414156"/>
              <a:gd name="connsiteY6" fmla="*/ 2252964 h 6858000"/>
              <a:gd name="connsiteX7" fmla="*/ 4319136 w 6414156"/>
              <a:gd name="connsiteY7" fmla="*/ 6858000 h 6858000"/>
              <a:gd name="connsiteX8" fmla="*/ 2921914 w 6414156"/>
              <a:gd name="connsiteY8" fmla="*/ 6858000 h 6858000"/>
              <a:gd name="connsiteX9" fmla="*/ 2608236 w 6414156"/>
              <a:gd name="connsiteY9" fmla="*/ 6858000 h 6858000"/>
              <a:gd name="connsiteX10" fmla="*/ 1447800 w 6414156"/>
              <a:gd name="connsiteY10" fmla="*/ 6858000 h 6858000"/>
              <a:gd name="connsiteX11" fmla="*/ 902614 w 6414156"/>
              <a:gd name="connsiteY11" fmla="*/ 6858000 h 6858000"/>
              <a:gd name="connsiteX12" fmla="*/ 0 w 641415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4156" h="6858000">
                <a:moveTo>
                  <a:pt x="0" y="0"/>
                </a:moveTo>
                <a:lnTo>
                  <a:pt x="902614" y="0"/>
                </a:lnTo>
                <a:lnTo>
                  <a:pt x="1447800" y="0"/>
                </a:lnTo>
                <a:lnTo>
                  <a:pt x="2608236" y="0"/>
                </a:lnTo>
                <a:lnTo>
                  <a:pt x="2921914" y="0"/>
                </a:lnTo>
                <a:lnTo>
                  <a:pt x="5873169" y="0"/>
                </a:lnTo>
                <a:lnTo>
                  <a:pt x="6414156" y="2252964"/>
                </a:lnTo>
                <a:lnTo>
                  <a:pt x="4319136" y="6858000"/>
                </a:lnTo>
                <a:lnTo>
                  <a:pt x="2921914" y="6858000"/>
                </a:lnTo>
                <a:lnTo>
                  <a:pt x="2608236" y="6858000"/>
                </a:lnTo>
                <a:lnTo>
                  <a:pt x="1447800" y="6858000"/>
                </a:lnTo>
                <a:lnTo>
                  <a:pt x="902614" y="6858000"/>
                </a:lnTo>
                <a:lnTo>
                  <a:pt x="0" y="6858000"/>
                </a:lnTo>
                <a:close/>
              </a:path>
            </a:pathLst>
          </a:custGeom>
          <a:blipFill>
            <a:blip r:embed="rId7">
              <a:alphaModFix amt="10000"/>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6" name="Group 15"/>
          <p:cNvGrpSpPr/>
          <p:nvPr userDrawn="1"/>
        </p:nvGrpSpPr>
        <p:grpSpPr>
          <a:xfrm>
            <a:off x="4200841" y="0"/>
            <a:ext cx="2511605" cy="6858000"/>
            <a:chOff x="1705620" y="0"/>
            <a:chExt cx="2511605" cy="6858000"/>
          </a:xfrm>
        </p:grpSpPr>
        <p:sp>
          <p:nvSpPr>
            <p:cNvPr id="18" name="Freeform 17"/>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 name="Parallelogram 18"/>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3" name="Title 2"/>
          <p:cNvSpPr>
            <a:spLocks noGrp="1"/>
          </p:cNvSpPr>
          <p:nvPr>
            <p:ph type="title" hasCustomPrompt="1"/>
          </p:nvPr>
        </p:nvSpPr>
        <p:spPr>
          <a:xfrm>
            <a:off x="630000" y="622800"/>
            <a:ext cx="4747822" cy="332399"/>
          </a:xfrm>
          <a:prstGeom prst="rect">
            <a:avLst/>
          </a:prstGeom>
        </p:spPr>
        <p:txBody>
          <a:bodyPr/>
          <a:lstStyle>
            <a:lvl1pPr>
              <a:defRPr b="1">
                <a:solidFill>
                  <a:srgbClr val="FFFFFF"/>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26310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2C2C2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054"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0"/>
            <a:ext cx="12192000" cy="6858000"/>
          </a:xfrm>
          <a:prstGeom prst="rect">
            <a:avLst/>
          </a:prstGeom>
          <a:blipFill>
            <a:blip r:embed="rId8">
              <a:alphaModFix amt="10000"/>
            </a:blip>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7" name="Group 16"/>
          <p:cNvGrpSpPr/>
          <p:nvPr userDrawn="1"/>
        </p:nvGrpSpPr>
        <p:grpSpPr>
          <a:xfrm>
            <a:off x="0" y="0"/>
            <a:ext cx="8807032" cy="6858000"/>
            <a:chOff x="0" y="0"/>
            <a:chExt cx="8807032" cy="6858000"/>
          </a:xfrm>
        </p:grpSpPr>
        <p:sp>
          <p:nvSpPr>
            <p:cNvPr id="18" name="Freeform 17"/>
            <p:cNvSpPr/>
            <p:nvPr userDrawn="1"/>
          </p:nvSpPr>
          <p:spPr bwMode="ltGray">
            <a:xfrm>
              <a:off x="0" y="0"/>
              <a:ext cx="8508742" cy="6858000"/>
            </a:xfrm>
            <a:custGeom>
              <a:avLst/>
              <a:gdLst>
                <a:gd name="connsiteX0" fmla="*/ 0 w 8508742"/>
                <a:gd name="connsiteY0" fmla="*/ 0 h 6858000"/>
                <a:gd name="connsiteX1" fmla="*/ 2997200 w 8508742"/>
                <a:gd name="connsiteY1" fmla="*/ 0 h 6858000"/>
                <a:gd name="connsiteX2" fmla="*/ 3543300 w 8508742"/>
                <a:gd name="connsiteY2" fmla="*/ 0 h 6858000"/>
                <a:gd name="connsiteX3" fmla="*/ 4702822 w 8508742"/>
                <a:gd name="connsiteY3" fmla="*/ 0 h 6858000"/>
                <a:gd name="connsiteX4" fmla="*/ 5016500 w 8508742"/>
                <a:gd name="connsiteY4" fmla="*/ 0 h 6858000"/>
                <a:gd name="connsiteX5" fmla="*/ 7967755 w 8508742"/>
                <a:gd name="connsiteY5" fmla="*/ 0 h 6858000"/>
                <a:gd name="connsiteX6" fmla="*/ 8508742 w 8508742"/>
                <a:gd name="connsiteY6" fmla="*/ 2252964 h 6858000"/>
                <a:gd name="connsiteX7" fmla="*/ 6413722 w 8508742"/>
                <a:gd name="connsiteY7" fmla="*/ 6858000 h 6858000"/>
                <a:gd name="connsiteX8" fmla="*/ 5016500 w 8508742"/>
                <a:gd name="connsiteY8" fmla="*/ 6858000 h 6858000"/>
                <a:gd name="connsiteX9" fmla="*/ 4702822 w 8508742"/>
                <a:gd name="connsiteY9" fmla="*/ 6858000 h 6858000"/>
                <a:gd name="connsiteX10" fmla="*/ 3543300 w 8508742"/>
                <a:gd name="connsiteY10" fmla="*/ 6858000 h 6858000"/>
                <a:gd name="connsiteX11" fmla="*/ 2997200 w 8508742"/>
                <a:gd name="connsiteY11" fmla="*/ 6858000 h 6858000"/>
                <a:gd name="connsiteX12" fmla="*/ 0 w 8508742"/>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8742" h="6858000">
                  <a:moveTo>
                    <a:pt x="0" y="0"/>
                  </a:moveTo>
                  <a:lnTo>
                    <a:pt x="2997200" y="0"/>
                  </a:lnTo>
                  <a:lnTo>
                    <a:pt x="3543300" y="0"/>
                  </a:lnTo>
                  <a:lnTo>
                    <a:pt x="4702822" y="0"/>
                  </a:lnTo>
                  <a:lnTo>
                    <a:pt x="5016500" y="0"/>
                  </a:lnTo>
                  <a:lnTo>
                    <a:pt x="7967755" y="0"/>
                  </a:lnTo>
                  <a:lnTo>
                    <a:pt x="8508742" y="2252964"/>
                  </a:lnTo>
                  <a:lnTo>
                    <a:pt x="6413722" y="6858000"/>
                  </a:lnTo>
                  <a:lnTo>
                    <a:pt x="5016500" y="6858000"/>
                  </a:lnTo>
                  <a:lnTo>
                    <a:pt x="4702822" y="6858000"/>
                  </a:lnTo>
                  <a:lnTo>
                    <a:pt x="3543300" y="6858000"/>
                  </a:lnTo>
                  <a:lnTo>
                    <a:pt x="2997200"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9" name="Group 18"/>
            <p:cNvGrpSpPr/>
            <p:nvPr userDrawn="1"/>
          </p:nvGrpSpPr>
          <p:grpSpPr>
            <a:xfrm>
              <a:off x="6295427" y="0"/>
              <a:ext cx="2511605" cy="6858000"/>
              <a:chOff x="1705620" y="0"/>
              <a:chExt cx="2511605" cy="6858000"/>
            </a:xfrm>
          </p:grpSpPr>
          <p:sp>
            <p:nvSpPr>
              <p:cNvPr id="20" name="Freeform 19"/>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Parallelogram 20"/>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b="1">
                <a:solidFill>
                  <a:srgbClr val="435264"/>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94128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7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grpSp>
        <p:nvGrpSpPr>
          <p:cNvPr id="11" name="Group 10"/>
          <p:cNvGrpSpPr/>
          <p:nvPr userDrawn="1"/>
        </p:nvGrpSpPr>
        <p:grpSpPr>
          <a:xfrm>
            <a:off x="0" y="0"/>
            <a:ext cx="8807032" cy="6858000"/>
            <a:chOff x="0" y="0"/>
            <a:chExt cx="8807032" cy="6858000"/>
          </a:xfrm>
        </p:grpSpPr>
        <p:sp>
          <p:nvSpPr>
            <p:cNvPr id="13" name="Freeform 12"/>
            <p:cNvSpPr/>
            <p:nvPr userDrawn="1"/>
          </p:nvSpPr>
          <p:spPr bwMode="ltGray">
            <a:xfrm>
              <a:off x="0" y="0"/>
              <a:ext cx="8508742" cy="6858000"/>
            </a:xfrm>
            <a:custGeom>
              <a:avLst/>
              <a:gdLst>
                <a:gd name="connsiteX0" fmla="*/ 0 w 8508742"/>
                <a:gd name="connsiteY0" fmla="*/ 0 h 6858000"/>
                <a:gd name="connsiteX1" fmla="*/ 2997200 w 8508742"/>
                <a:gd name="connsiteY1" fmla="*/ 0 h 6858000"/>
                <a:gd name="connsiteX2" fmla="*/ 3543300 w 8508742"/>
                <a:gd name="connsiteY2" fmla="*/ 0 h 6858000"/>
                <a:gd name="connsiteX3" fmla="*/ 4702822 w 8508742"/>
                <a:gd name="connsiteY3" fmla="*/ 0 h 6858000"/>
                <a:gd name="connsiteX4" fmla="*/ 5016500 w 8508742"/>
                <a:gd name="connsiteY4" fmla="*/ 0 h 6858000"/>
                <a:gd name="connsiteX5" fmla="*/ 7967755 w 8508742"/>
                <a:gd name="connsiteY5" fmla="*/ 0 h 6858000"/>
                <a:gd name="connsiteX6" fmla="*/ 8508742 w 8508742"/>
                <a:gd name="connsiteY6" fmla="*/ 2252964 h 6858000"/>
                <a:gd name="connsiteX7" fmla="*/ 6413722 w 8508742"/>
                <a:gd name="connsiteY7" fmla="*/ 6858000 h 6858000"/>
                <a:gd name="connsiteX8" fmla="*/ 5016500 w 8508742"/>
                <a:gd name="connsiteY8" fmla="*/ 6858000 h 6858000"/>
                <a:gd name="connsiteX9" fmla="*/ 4702822 w 8508742"/>
                <a:gd name="connsiteY9" fmla="*/ 6858000 h 6858000"/>
                <a:gd name="connsiteX10" fmla="*/ 3543300 w 8508742"/>
                <a:gd name="connsiteY10" fmla="*/ 6858000 h 6858000"/>
                <a:gd name="connsiteX11" fmla="*/ 2997200 w 8508742"/>
                <a:gd name="connsiteY11" fmla="*/ 6858000 h 6858000"/>
                <a:gd name="connsiteX12" fmla="*/ 0 w 8508742"/>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8742" h="6858000">
                  <a:moveTo>
                    <a:pt x="0" y="0"/>
                  </a:moveTo>
                  <a:lnTo>
                    <a:pt x="2997200" y="0"/>
                  </a:lnTo>
                  <a:lnTo>
                    <a:pt x="3543300" y="0"/>
                  </a:lnTo>
                  <a:lnTo>
                    <a:pt x="4702822" y="0"/>
                  </a:lnTo>
                  <a:lnTo>
                    <a:pt x="5016500" y="0"/>
                  </a:lnTo>
                  <a:lnTo>
                    <a:pt x="7967755" y="0"/>
                  </a:lnTo>
                  <a:lnTo>
                    <a:pt x="8508742" y="2252964"/>
                  </a:lnTo>
                  <a:lnTo>
                    <a:pt x="6413722" y="6858000"/>
                  </a:lnTo>
                  <a:lnTo>
                    <a:pt x="5016500" y="6858000"/>
                  </a:lnTo>
                  <a:lnTo>
                    <a:pt x="4702822" y="6858000"/>
                  </a:lnTo>
                  <a:lnTo>
                    <a:pt x="3543300" y="6858000"/>
                  </a:lnTo>
                  <a:lnTo>
                    <a:pt x="2997200" y="6858000"/>
                  </a:lnTo>
                  <a:lnTo>
                    <a:pt x="0" y="6858000"/>
                  </a:lnTo>
                  <a:close/>
                </a:path>
              </a:pathLst>
            </a:cu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sp>
          <p:nvSpPr>
            <p:cNvPr id="14" name="Freeform 13"/>
            <p:cNvSpPr/>
            <p:nvPr userDrawn="1"/>
          </p:nvSpPr>
          <p:spPr bwMode="ltGray">
            <a:xfrm>
              <a:off x="0" y="0"/>
              <a:ext cx="8508742" cy="6858000"/>
            </a:xfrm>
            <a:custGeom>
              <a:avLst/>
              <a:gdLst>
                <a:gd name="connsiteX0" fmla="*/ 0 w 8508742"/>
                <a:gd name="connsiteY0" fmla="*/ 0 h 6858000"/>
                <a:gd name="connsiteX1" fmla="*/ 2997200 w 8508742"/>
                <a:gd name="connsiteY1" fmla="*/ 0 h 6858000"/>
                <a:gd name="connsiteX2" fmla="*/ 3543300 w 8508742"/>
                <a:gd name="connsiteY2" fmla="*/ 0 h 6858000"/>
                <a:gd name="connsiteX3" fmla="*/ 4702822 w 8508742"/>
                <a:gd name="connsiteY3" fmla="*/ 0 h 6858000"/>
                <a:gd name="connsiteX4" fmla="*/ 5016500 w 8508742"/>
                <a:gd name="connsiteY4" fmla="*/ 0 h 6858000"/>
                <a:gd name="connsiteX5" fmla="*/ 7967755 w 8508742"/>
                <a:gd name="connsiteY5" fmla="*/ 0 h 6858000"/>
                <a:gd name="connsiteX6" fmla="*/ 8508742 w 8508742"/>
                <a:gd name="connsiteY6" fmla="*/ 2252964 h 6858000"/>
                <a:gd name="connsiteX7" fmla="*/ 6413722 w 8508742"/>
                <a:gd name="connsiteY7" fmla="*/ 6858000 h 6858000"/>
                <a:gd name="connsiteX8" fmla="*/ 5016500 w 8508742"/>
                <a:gd name="connsiteY8" fmla="*/ 6858000 h 6858000"/>
                <a:gd name="connsiteX9" fmla="*/ 4702822 w 8508742"/>
                <a:gd name="connsiteY9" fmla="*/ 6858000 h 6858000"/>
                <a:gd name="connsiteX10" fmla="*/ 3543300 w 8508742"/>
                <a:gd name="connsiteY10" fmla="*/ 6858000 h 6858000"/>
                <a:gd name="connsiteX11" fmla="*/ 2997200 w 8508742"/>
                <a:gd name="connsiteY11" fmla="*/ 6858000 h 6858000"/>
                <a:gd name="connsiteX12" fmla="*/ 0 w 8508742"/>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8742" h="6858000">
                  <a:moveTo>
                    <a:pt x="0" y="0"/>
                  </a:moveTo>
                  <a:lnTo>
                    <a:pt x="2997200" y="0"/>
                  </a:lnTo>
                  <a:lnTo>
                    <a:pt x="3543300" y="0"/>
                  </a:lnTo>
                  <a:lnTo>
                    <a:pt x="4702822" y="0"/>
                  </a:lnTo>
                  <a:lnTo>
                    <a:pt x="5016500" y="0"/>
                  </a:lnTo>
                  <a:lnTo>
                    <a:pt x="7967755" y="0"/>
                  </a:lnTo>
                  <a:lnTo>
                    <a:pt x="8508742" y="2252964"/>
                  </a:lnTo>
                  <a:lnTo>
                    <a:pt x="6413722" y="6858000"/>
                  </a:lnTo>
                  <a:lnTo>
                    <a:pt x="5016500" y="6858000"/>
                  </a:lnTo>
                  <a:lnTo>
                    <a:pt x="4702822" y="6858000"/>
                  </a:lnTo>
                  <a:lnTo>
                    <a:pt x="3543300" y="6858000"/>
                  </a:lnTo>
                  <a:lnTo>
                    <a:pt x="2997200" y="6858000"/>
                  </a:lnTo>
                  <a:lnTo>
                    <a:pt x="0" y="6858000"/>
                  </a:lnTo>
                  <a:close/>
                </a:path>
              </a:pathLst>
            </a:custGeom>
            <a:blipFill>
              <a:blip r:embed="rId7">
                <a:alphaModFix amt="10000"/>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5" name="Group 14"/>
            <p:cNvGrpSpPr/>
            <p:nvPr userDrawn="1"/>
          </p:nvGrpSpPr>
          <p:grpSpPr>
            <a:xfrm>
              <a:off x="6295427" y="0"/>
              <a:ext cx="2511605" cy="6858000"/>
              <a:chOff x="1705620" y="0"/>
              <a:chExt cx="2511605" cy="6858000"/>
            </a:xfrm>
          </p:grpSpPr>
          <p:sp>
            <p:nvSpPr>
              <p:cNvPr id="16" name="Freeform 15"/>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Parallelogram 20"/>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sp>
        <p:nvSpPr>
          <p:cNvPr id="2" name="Title 1"/>
          <p:cNvSpPr>
            <a:spLocks noGrp="1"/>
          </p:cNvSpPr>
          <p:nvPr>
            <p:ph type="title" hasCustomPrompt="1"/>
          </p:nvPr>
        </p:nvSpPr>
        <p:spPr>
          <a:xfrm>
            <a:off x="630000" y="622800"/>
            <a:ext cx="6254496" cy="332399"/>
          </a:xfrm>
          <a:prstGeom prst="rect">
            <a:avLst/>
          </a:prstGeom>
        </p:spPr>
        <p:txBody>
          <a:bodyPr/>
          <a:lstStyle>
            <a:lvl1pPr>
              <a:defRPr b="1">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01859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10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454425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12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8A9B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rgbClr val="8A9BB0"/>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725807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150"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435264"/>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8097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FA4A01C9-649F-4D46-92BB-75D3F452DAA8}"/>
              </a:ext>
            </a:extLst>
          </p:cNvPr>
          <p:cNvSpPr/>
          <p:nvPr userDrawn="1">
            <p:custDataLst>
              <p:tags r:id="rId3"/>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6" name="Object 5"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174" name="think-cell Slide" r:id="rId7" imgW="352" imgH="355" progId="TCLayout.ActiveDocument.1">
                  <p:embed/>
                </p:oleObj>
              </mc:Choice>
              <mc:Fallback>
                <p:oleObj name="think-cell Slide" r:id="rId7" imgW="352" imgH="355" progId="TCLayout.ActiveDocument.1">
                  <p:embed/>
                  <p:pic>
                    <p:nvPicPr>
                      <p:cNvPr id="6" name="Object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hidden="1"/>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b="1">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634639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2C2C2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19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Rectangle 34"/>
          <p:cNvSpPr/>
          <p:nvPr userDrawn="1"/>
        </p:nvSpPr>
        <p:spPr>
          <a:xfrm>
            <a:off x="0" y="0"/>
            <a:ext cx="12192000" cy="6858000"/>
          </a:xfrm>
          <a:prstGeom prst="rect">
            <a:avLst/>
          </a:prstGeom>
          <a:blipFill>
            <a:blip r:embed="rId7">
              <a:alphaModFix amt="10000"/>
            </a:blip>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2" name="Freeform 31"/>
          <p:cNvSpPr/>
          <p:nvPr userDrawn="1"/>
        </p:nvSpPr>
        <p:spPr bwMode="ltGray">
          <a:xfrm>
            <a:off x="1" y="0"/>
            <a:ext cx="4402245" cy="6858000"/>
          </a:xfrm>
          <a:custGeom>
            <a:avLst/>
            <a:gdLst>
              <a:gd name="connsiteX0" fmla="*/ 0 w 4402245"/>
              <a:gd name="connsiteY0" fmla="*/ 0 h 6858000"/>
              <a:gd name="connsiteX1" fmla="*/ 596325 w 4402245"/>
              <a:gd name="connsiteY1" fmla="*/ 0 h 6858000"/>
              <a:gd name="connsiteX2" fmla="*/ 910003 w 4402245"/>
              <a:gd name="connsiteY2" fmla="*/ 0 h 6858000"/>
              <a:gd name="connsiteX3" fmla="*/ 3861258 w 4402245"/>
              <a:gd name="connsiteY3" fmla="*/ 0 h 6858000"/>
              <a:gd name="connsiteX4" fmla="*/ 4402245 w 4402245"/>
              <a:gd name="connsiteY4" fmla="*/ 2252964 h 6858000"/>
              <a:gd name="connsiteX5" fmla="*/ 2307225 w 4402245"/>
              <a:gd name="connsiteY5" fmla="*/ 6858000 h 6858000"/>
              <a:gd name="connsiteX6" fmla="*/ 910003 w 4402245"/>
              <a:gd name="connsiteY6" fmla="*/ 6858000 h 6858000"/>
              <a:gd name="connsiteX7" fmla="*/ 596325 w 4402245"/>
              <a:gd name="connsiteY7" fmla="*/ 6858000 h 6858000"/>
              <a:gd name="connsiteX8" fmla="*/ 0 w 4402245"/>
              <a:gd name="connsiteY8" fmla="*/ 6858000 h 6858000"/>
              <a:gd name="connsiteX9" fmla="*/ 0 w 4402245"/>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2245" h="6858000">
                <a:moveTo>
                  <a:pt x="0" y="0"/>
                </a:moveTo>
                <a:lnTo>
                  <a:pt x="596325" y="0"/>
                </a:lnTo>
                <a:lnTo>
                  <a:pt x="910003" y="0"/>
                </a:lnTo>
                <a:lnTo>
                  <a:pt x="3861258" y="0"/>
                </a:lnTo>
                <a:lnTo>
                  <a:pt x="4402245" y="2252964"/>
                </a:lnTo>
                <a:lnTo>
                  <a:pt x="2307225" y="6858000"/>
                </a:lnTo>
                <a:lnTo>
                  <a:pt x="910003" y="6858000"/>
                </a:lnTo>
                <a:lnTo>
                  <a:pt x="596325" y="6858000"/>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29" name="Group 28"/>
          <p:cNvGrpSpPr/>
          <p:nvPr userDrawn="1"/>
        </p:nvGrpSpPr>
        <p:grpSpPr>
          <a:xfrm>
            <a:off x="2188930" y="0"/>
            <a:ext cx="2511605" cy="6858000"/>
            <a:chOff x="1705620" y="0"/>
            <a:chExt cx="2511605" cy="6858000"/>
          </a:xfrm>
        </p:grpSpPr>
        <p:sp>
          <p:nvSpPr>
            <p:cNvPr id="30" name="Freeform 29"/>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1" name="Parallelogram 30"/>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20" name="TextBox 19"/>
          <p:cNvSpPr txBox="1"/>
          <p:nvPr userDrawn="1"/>
        </p:nvSpPr>
        <p:spPr>
          <a:xfrm>
            <a:off x="630000" y="2548118"/>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435264"/>
                </a:solidFill>
                <a:latin typeface="+mn-lt"/>
                <a:sym typeface="Trebuchet MS" panose="020B0603020202020204" pitchFamily="34" charset="0"/>
              </a:rPr>
              <a:t>Table of contents</a:t>
            </a:r>
          </a:p>
        </p:txBody>
      </p:sp>
      <p:sp>
        <p:nvSpPr>
          <p:cNvPr id="15" name="Date Placeholder 4"/>
          <p:cNvSpPr>
            <a:spLocks noGrp="1"/>
          </p:cNvSpPr>
          <p:nvPr userDrawn="1">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8656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2C2C2C"/>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C7960474-9DEB-4A9A-89E8-F6246C2DCC0E}"/>
              </a:ext>
            </a:extLst>
          </p:cNvPr>
          <p:cNvSpPr/>
          <p:nvPr userDrawn="1">
            <p:custDataLst>
              <p:tags r:id="rId2"/>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3440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8B4C724E-27BC-4BBC-A422-139FF24AB14A}"/>
              </a:ext>
            </a:extLst>
          </p:cNvPr>
          <p:cNvSpPr/>
          <p:nvPr userDrawn="1">
            <p:custDataLst>
              <p:tags r:id="rId1"/>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39502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58407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22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stretch>
            <a:fillRect/>
          </a:stretch>
        </p:blipFill>
        <p:spPr>
          <a:xfrm>
            <a:off x="0" y="0"/>
            <a:ext cx="12192000" cy="6858000"/>
          </a:xfrm>
          <a:prstGeom prst="rect">
            <a:avLst/>
          </a:prstGeom>
        </p:spPr>
      </p:pic>
      <p:sp>
        <p:nvSpPr>
          <p:cNvPr id="11" name="object 4"/>
          <p:cNvSpPr/>
          <p:nvPr userDrawn="1"/>
        </p:nvSpPr>
        <p:spPr>
          <a:xfrm>
            <a:off x="0" y="3075432"/>
            <a:ext cx="2226945" cy="0"/>
          </a:xfrm>
          <a:custGeom>
            <a:avLst/>
            <a:gdLst/>
            <a:ahLst/>
            <a:cxnLst/>
            <a:rect l="l" t="t" r="r" b="b"/>
            <a:pathLst>
              <a:path w="2226945">
                <a:moveTo>
                  <a:pt x="0" y="0"/>
                </a:moveTo>
                <a:lnTo>
                  <a:pt x="2226564" y="0"/>
                </a:lnTo>
              </a:path>
            </a:pathLst>
          </a:custGeom>
          <a:ln w="6096">
            <a:solidFill>
              <a:srgbClr val="435264"/>
            </a:solidFill>
          </a:ln>
        </p:spPr>
        <p:txBody>
          <a:bodyPr wrap="square" lIns="0" tIns="0" rIns="0" bIns="0" rtlCol="0"/>
          <a:lstStyle/>
          <a:p>
            <a:endParaRPr/>
          </a:p>
        </p:txBody>
      </p:sp>
      <p:sp>
        <p:nvSpPr>
          <p:cNvPr id="13" name="object 6"/>
          <p:cNvSpPr/>
          <p:nvPr userDrawn="1"/>
        </p:nvSpPr>
        <p:spPr>
          <a:xfrm>
            <a:off x="2226564" y="0"/>
            <a:ext cx="3349625" cy="3076575"/>
          </a:xfrm>
          <a:custGeom>
            <a:avLst/>
            <a:gdLst/>
            <a:ahLst/>
            <a:cxnLst/>
            <a:rect l="l" t="t" r="r" b="b"/>
            <a:pathLst>
              <a:path w="3349625" h="3076575">
                <a:moveTo>
                  <a:pt x="0" y="3076321"/>
                </a:moveTo>
                <a:lnTo>
                  <a:pt x="3349116" y="0"/>
                </a:lnTo>
              </a:path>
            </a:pathLst>
          </a:custGeom>
          <a:ln w="6095">
            <a:solidFill>
              <a:srgbClr val="A0CD39"/>
            </a:solidFill>
          </a:ln>
        </p:spPr>
        <p:txBody>
          <a:bodyPr wrap="square" lIns="0" tIns="0" rIns="0" bIns="0" rtlCol="0"/>
          <a:lstStyle/>
          <a:p>
            <a:endParaRPr/>
          </a:p>
        </p:txBody>
      </p:sp>
      <p:sp>
        <p:nvSpPr>
          <p:cNvPr id="14" name="object 7"/>
          <p:cNvSpPr/>
          <p:nvPr userDrawn="1"/>
        </p:nvSpPr>
        <p:spPr>
          <a:xfrm>
            <a:off x="627887" y="621791"/>
            <a:ext cx="459105" cy="528955"/>
          </a:xfrm>
          <a:custGeom>
            <a:avLst/>
            <a:gdLst/>
            <a:ahLst/>
            <a:cxnLst/>
            <a:rect l="l" t="t" r="r" b="b"/>
            <a:pathLst>
              <a:path w="459105" h="528955">
                <a:moveTo>
                  <a:pt x="160917" y="426847"/>
                </a:moveTo>
                <a:lnTo>
                  <a:pt x="50647" y="426847"/>
                </a:lnTo>
                <a:lnTo>
                  <a:pt x="53263" y="427990"/>
                </a:lnTo>
                <a:lnTo>
                  <a:pt x="53555" y="427990"/>
                </a:lnTo>
                <a:lnTo>
                  <a:pt x="53555" y="428244"/>
                </a:lnTo>
                <a:lnTo>
                  <a:pt x="55016" y="428879"/>
                </a:lnTo>
                <a:lnTo>
                  <a:pt x="225107" y="527558"/>
                </a:lnTo>
                <a:lnTo>
                  <a:pt x="225691" y="527938"/>
                </a:lnTo>
                <a:lnTo>
                  <a:pt x="226872" y="528447"/>
                </a:lnTo>
                <a:lnTo>
                  <a:pt x="228307" y="528828"/>
                </a:lnTo>
                <a:lnTo>
                  <a:pt x="230962" y="528828"/>
                </a:lnTo>
                <a:lnTo>
                  <a:pt x="232422" y="528447"/>
                </a:lnTo>
                <a:lnTo>
                  <a:pt x="233286" y="528193"/>
                </a:lnTo>
                <a:lnTo>
                  <a:pt x="233578" y="528193"/>
                </a:lnTo>
                <a:lnTo>
                  <a:pt x="233578" y="527938"/>
                </a:lnTo>
                <a:lnTo>
                  <a:pt x="234467" y="527304"/>
                </a:lnTo>
                <a:lnTo>
                  <a:pt x="341349" y="465328"/>
                </a:lnTo>
                <a:lnTo>
                  <a:pt x="228015" y="465328"/>
                </a:lnTo>
                <a:lnTo>
                  <a:pt x="226542" y="465074"/>
                </a:lnTo>
                <a:lnTo>
                  <a:pt x="225399" y="464185"/>
                </a:lnTo>
                <a:lnTo>
                  <a:pt x="225107" y="464185"/>
                </a:lnTo>
                <a:lnTo>
                  <a:pt x="225107" y="463931"/>
                </a:lnTo>
                <a:lnTo>
                  <a:pt x="160917" y="426847"/>
                </a:lnTo>
                <a:close/>
              </a:path>
              <a:path w="459105" h="528955">
                <a:moveTo>
                  <a:pt x="458685" y="120396"/>
                </a:moveTo>
                <a:lnTo>
                  <a:pt x="399859" y="120396"/>
                </a:lnTo>
                <a:lnTo>
                  <a:pt x="403669" y="123825"/>
                </a:lnTo>
                <a:lnTo>
                  <a:pt x="403948" y="128524"/>
                </a:lnTo>
                <a:lnTo>
                  <a:pt x="403948" y="360807"/>
                </a:lnTo>
                <a:lnTo>
                  <a:pt x="403669" y="360807"/>
                </a:lnTo>
                <a:lnTo>
                  <a:pt x="403669" y="363728"/>
                </a:lnTo>
                <a:lnTo>
                  <a:pt x="402475" y="366268"/>
                </a:lnTo>
                <a:lnTo>
                  <a:pt x="400151" y="367792"/>
                </a:lnTo>
                <a:lnTo>
                  <a:pt x="399542" y="368046"/>
                </a:lnTo>
                <a:lnTo>
                  <a:pt x="399249" y="368427"/>
                </a:lnTo>
                <a:lnTo>
                  <a:pt x="398678" y="368681"/>
                </a:lnTo>
                <a:lnTo>
                  <a:pt x="234467" y="463931"/>
                </a:lnTo>
                <a:lnTo>
                  <a:pt x="234187" y="464185"/>
                </a:lnTo>
                <a:lnTo>
                  <a:pt x="233895" y="464185"/>
                </a:lnTo>
                <a:lnTo>
                  <a:pt x="233286" y="464438"/>
                </a:lnTo>
                <a:lnTo>
                  <a:pt x="232105" y="465074"/>
                </a:lnTo>
                <a:lnTo>
                  <a:pt x="230962" y="465328"/>
                </a:lnTo>
                <a:lnTo>
                  <a:pt x="341349" y="465328"/>
                </a:lnTo>
                <a:lnTo>
                  <a:pt x="453707" y="400177"/>
                </a:lnTo>
                <a:lnTo>
                  <a:pt x="455168" y="399669"/>
                </a:lnTo>
                <a:lnTo>
                  <a:pt x="457212" y="397891"/>
                </a:lnTo>
                <a:lnTo>
                  <a:pt x="458685" y="395224"/>
                </a:lnTo>
                <a:lnTo>
                  <a:pt x="458685" y="120396"/>
                </a:lnTo>
                <a:close/>
              </a:path>
              <a:path w="459105" h="528955">
                <a:moveTo>
                  <a:pt x="225107" y="1143"/>
                </a:moveTo>
                <a:lnTo>
                  <a:pt x="4699" y="129159"/>
                </a:lnTo>
                <a:lnTo>
                  <a:pt x="4381" y="129159"/>
                </a:lnTo>
                <a:lnTo>
                  <a:pt x="4381" y="129412"/>
                </a:lnTo>
                <a:lnTo>
                  <a:pt x="4089" y="129412"/>
                </a:lnTo>
                <a:lnTo>
                  <a:pt x="1752" y="130937"/>
                </a:lnTo>
                <a:lnTo>
                  <a:pt x="0" y="133858"/>
                </a:lnTo>
                <a:lnTo>
                  <a:pt x="0" y="453136"/>
                </a:lnTo>
                <a:lnTo>
                  <a:pt x="3797" y="456946"/>
                </a:lnTo>
                <a:lnTo>
                  <a:pt x="10833" y="456946"/>
                </a:lnTo>
                <a:lnTo>
                  <a:pt x="12585" y="456057"/>
                </a:lnTo>
                <a:lnTo>
                  <a:pt x="14351" y="454913"/>
                </a:lnTo>
                <a:lnTo>
                  <a:pt x="14630" y="454533"/>
                </a:lnTo>
                <a:lnTo>
                  <a:pt x="43332" y="429133"/>
                </a:lnTo>
                <a:lnTo>
                  <a:pt x="44805" y="427736"/>
                </a:lnTo>
                <a:lnTo>
                  <a:pt x="46850" y="426847"/>
                </a:lnTo>
                <a:lnTo>
                  <a:pt x="160917" y="426847"/>
                </a:lnTo>
                <a:lnTo>
                  <a:pt x="129042" y="408432"/>
                </a:lnTo>
                <a:lnTo>
                  <a:pt x="58826" y="408432"/>
                </a:lnTo>
                <a:lnTo>
                  <a:pt x="55016" y="404368"/>
                </a:lnTo>
                <a:lnTo>
                  <a:pt x="55016" y="167640"/>
                </a:lnTo>
                <a:lnTo>
                  <a:pt x="55308" y="165100"/>
                </a:lnTo>
                <a:lnTo>
                  <a:pt x="56781" y="162687"/>
                </a:lnTo>
                <a:lnTo>
                  <a:pt x="58826" y="161544"/>
                </a:lnTo>
                <a:lnTo>
                  <a:pt x="59105" y="161290"/>
                </a:lnTo>
                <a:lnTo>
                  <a:pt x="59436" y="161036"/>
                </a:lnTo>
                <a:lnTo>
                  <a:pt x="59715" y="161036"/>
                </a:lnTo>
                <a:lnTo>
                  <a:pt x="225107" y="65150"/>
                </a:lnTo>
                <a:lnTo>
                  <a:pt x="226542" y="64262"/>
                </a:lnTo>
                <a:lnTo>
                  <a:pt x="228015" y="63754"/>
                </a:lnTo>
                <a:lnTo>
                  <a:pt x="341798" y="63754"/>
                </a:lnTo>
                <a:lnTo>
                  <a:pt x="234187" y="1524"/>
                </a:lnTo>
                <a:lnTo>
                  <a:pt x="225107" y="1524"/>
                </a:lnTo>
                <a:lnTo>
                  <a:pt x="225107" y="1143"/>
                </a:lnTo>
                <a:close/>
              </a:path>
              <a:path w="459105" h="528955">
                <a:moveTo>
                  <a:pt x="93649" y="388493"/>
                </a:moveTo>
                <a:lnTo>
                  <a:pt x="90170" y="388493"/>
                </a:lnTo>
                <a:lnTo>
                  <a:pt x="88087" y="389382"/>
                </a:lnTo>
                <a:lnTo>
                  <a:pt x="86664" y="390906"/>
                </a:lnTo>
                <a:lnTo>
                  <a:pt x="69938" y="405511"/>
                </a:lnTo>
                <a:lnTo>
                  <a:pt x="69659" y="406019"/>
                </a:lnTo>
                <a:lnTo>
                  <a:pt x="69088" y="406400"/>
                </a:lnTo>
                <a:lnTo>
                  <a:pt x="68795" y="406654"/>
                </a:lnTo>
                <a:lnTo>
                  <a:pt x="67322" y="407543"/>
                </a:lnTo>
                <a:lnTo>
                  <a:pt x="65570" y="408432"/>
                </a:lnTo>
                <a:lnTo>
                  <a:pt x="129042" y="408432"/>
                </a:lnTo>
                <a:lnTo>
                  <a:pt x="97167" y="390017"/>
                </a:lnTo>
                <a:lnTo>
                  <a:pt x="96304" y="389382"/>
                </a:lnTo>
                <a:lnTo>
                  <a:pt x="95123" y="388874"/>
                </a:lnTo>
                <a:lnTo>
                  <a:pt x="93649" y="388493"/>
                </a:lnTo>
                <a:close/>
              </a:path>
              <a:path w="459105" h="528955">
                <a:moveTo>
                  <a:pt x="341798" y="63754"/>
                </a:moveTo>
                <a:lnTo>
                  <a:pt x="231241" y="63754"/>
                </a:lnTo>
                <a:lnTo>
                  <a:pt x="232714" y="64262"/>
                </a:lnTo>
                <a:lnTo>
                  <a:pt x="233895" y="64897"/>
                </a:lnTo>
                <a:lnTo>
                  <a:pt x="361200" y="138811"/>
                </a:lnTo>
                <a:lnTo>
                  <a:pt x="362381" y="139319"/>
                </a:lnTo>
                <a:lnTo>
                  <a:pt x="363562" y="139954"/>
                </a:lnTo>
                <a:lnTo>
                  <a:pt x="365036" y="140208"/>
                </a:lnTo>
                <a:lnTo>
                  <a:pt x="368223" y="140208"/>
                </a:lnTo>
                <a:lnTo>
                  <a:pt x="369989" y="139700"/>
                </a:lnTo>
                <a:lnTo>
                  <a:pt x="371449" y="138430"/>
                </a:lnTo>
                <a:lnTo>
                  <a:pt x="372643" y="137668"/>
                </a:lnTo>
                <a:lnTo>
                  <a:pt x="389318" y="122682"/>
                </a:lnTo>
                <a:lnTo>
                  <a:pt x="390791" y="121285"/>
                </a:lnTo>
                <a:lnTo>
                  <a:pt x="392836" y="120396"/>
                </a:lnTo>
                <a:lnTo>
                  <a:pt x="458685" y="120396"/>
                </a:lnTo>
                <a:lnTo>
                  <a:pt x="458685" y="101727"/>
                </a:lnTo>
                <a:lnTo>
                  <a:pt x="408330" y="101727"/>
                </a:lnTo>
                <a:lnTo>
                  <a:pt x="406857" y="101346"/>
                </a:lnTo>
                <a:lnTo>
                  <a:pt x="405714" y="100837"/>
                </a:lnTo>
                <a:lnTo>
                  <a:pt x="405422" y="100457"/>
                </a:lnTo>
                <a:lnTo>
                  <a:pt x="405130" y="100457"/>
                </a:lnTo>
                <a:lnTo>
                  <a:pt x="405130" y="100203"/>
                </a:lnTo>
                <a:lnTo>
                  <a:pt x="403948" y="99695"/>
                </a:lnTo>
                <a:lnTo>
                  <a:pt x="341798" y="63754"/>
                </a:lnTo>
                <a:close/>
              </a:path>
              <a:path w="459105" h="528955">
                <a:moveTo>
                  <a:pt x="454888" y="71628"/>
                </a:moveTo>
                <a:lnTo>
                  <a:pt x="447852" y="71628"/>
                </a:lnTo>
                <a:lnTo>
                  <a:pt x="445808" y="72517"/>
                </a:lnTo>
                <a:lnTo>
                  <a:pt x="444334" y="73913"/>
                </a:lnTo>
                <a:lnTo>
                  <a:pt x="415645" y="99060"/>
                </a:lnTo>
                <a:lnTo>
                  <a:pt x="415645" y="99313"/>
                </a:lnTo>
                <a:lnTo>
                  <a:pt x="415353" y="99695"/>
                </a:lnTo>
                <a:lnTo>
                  <a:pt x="415074" y="99949"/>
                </a:lnTo>
                <a:lnTo>
                  <a:pt x="413600" y="101092"/>
                </a:lnTo>
                <a:lnTo>
                  <a:pt x="411556" y="101727"/>
                </a:lnTo>
                <a:lnTo>
                  <a:pt x="458685" y="101727"/>
                </a:lnTo>
                <a:lnTo>
                  <a:pt x="458685" y="75692"/>
                </a:lnTo>
                <a:lnTo>
                  <a:pt x="454888" y="71628"/>
                </a:lnTo>
                <a:close/>
              </a:path>
              <a:path w="459105" h="528955">
                <a:moveTo>
                  <a:pt x="231241" y="0"/>
                </a:moveTo>
                <a:lnTo>
                  <a:pt x="228015" y="0"/>
                </a:lnTo>
                <a:lnTo>
                  <a:pt x="226542" y="635"/>
                </a:lnTo>
                <a:lnTo>
                  <a:pt x="225107" y="1524"/>
                </a:lnTo>
                <a:lnTo>
                  <a:pt x="234187" y="1524"/>
                </a:lnTo>
                <a:lnTo>
                  <a:pt x="233895" y="1143"/>
                </a:lnTo>
                <a:lnTo>
                  <a:pt x="231241" y="0"/>
                </a:lnTo>
                <a:close/>
              </a:path>
            </a:pathLst>
          </a:custGeom>
          <a:solidFill>
            <a:srgbClr val="FFFFFF"/>
          </a:solidFill>
        </p:spPr>
        <p:txBody>
          <a:bodyPr wrap="square" lIns="0" tIns="0" rIns="0" bIns="0" rtlCol="0"/>
          <a:lstStyle/>
          <a:p>
            <a:endParaRPr/>
          </a:p>
        </p:txBody>
      </p:sp>
      <p:sp>
        <p:nvSpPr>
          <p:cNvPr id="16" name="object 8"/>
          <p:cNvSpPr/>
          <p:nvPr userDrawn="1"/>
        </p:nvSpPr>
        <p:spPr>
          <a:xfrm>
            <a:off x="1187196" y="723900"/>
            <a:ext cx="443484" cy="286512"/>
          </a:xfrm>
          <a:prstGeom prst="rect">
            <a:avLst/>
          </a:prstGeom>
          <a:blipFill>
            <a:blip r:embed="rId7" cstate="print"/>
            <a:stretch>
              <a:fillRect/>
            </a:stretch>
          </a:blipFill>
        </p:spPr>
        <p:txBody>
          <a:bodyPr wrap="square" lIns="0" tIns="0" rIns="0" bIns="0" rtlCol="0"/>
          <a:lstStyle/>
          <a:p>
            <a:endParaRPr/>
          </a:p>
        </p:txBody>
      </p:sp>
      <p:sp>
        <p:nvSpPr>
          <p:cNvPr id="17" name="object 9"/>
          <p:cNvSpPr txBox="1"/>
          <p:nvPr userDrawn="1"/>
        </p:nvSpPr>
        <p:spPr>
          <a:xfrm>
            <a:off x="10129773" y="6044285"/>
            <a:ext cx="1394460" cy="147955"/>
          </a:xfrm>
          <a:prstGeom prst="rect">
            <a:avLst/>
          </a:prstGeom>
        </p:spPr>
        <p:txBody>
          <a:bodyPr vert="horz" wrap="square" lIns="0" tIns="12700" rIns="0" bIns="0" rtlCol="0">
            <a:spAutoFit/>
          </a:bodyPr>
          <a:lstStyle/>
          <a:p>
            <a:pPr marL="12700">
              <a:lnSpc>
                <a:spcPct val="100000"/>
              </a:lnSpc>
              <a:spcBef>
                <a:spcPts val="100"/>
              </a:spcBef>
            </a:pPr>
            <a:r>
              <a:rPr sz="800" dirty="0">
                <a:solidFill>
                  <a:srgbClr val="FFFFFF"/>
                </a:solidFill>
                <a:latin typeface="Century Gothic"/>
                <a:cs typeface="Century Gothic"/>
              </a:rPr>
              <a:t>I M A G I N E B E Y O N</a:t>
            </a:r>
            <a:r>
              <a:rPr sz="800" spc="15" dirty="0">
                <a:solidFill>
                  <a:srgbClr val="FFFFFF"/>
                </a:solidFill>
                <a:latin typeface="Century Gothic"/>
                <a:cs typeface="Century Gothic"/>
              </a:rPr>
              <a:t> </a:t>
            </a:r>
            <a:r>
              <a:rPr sz="800" dirty="0">
                <a:solidFill>
                  <a:srgbClr val="FFFFFF"/>
                </a:solidFill>
                <a:latin typeface="Century Gothic"/>
                <a:cs typeface="Century Gothic"/>
              </a:rPr>
              <a:t>D</a:t>
            </a:r>
            <a:endParaRPr sz="800">
              <a:latin typeface="Century Gothic"/>
              <a:cs typeface="Century Gothic"/>
            </a:endParaRPr>
          </a:p>
        </p:txBody>
      </p:sp>
      <p:sp>
        <p:nvSpPr>
          <p:cNvPr id="18" name="object 10"/>
          <p:cNvSpPr txBox="1"/>
          <p:nvPr userDrawn="1"/>
        </p:nvSpPr>
        <p:spPr>
          <a:xfrm>
            <a:off x="610311" y="5055463"/>
            <a:ext cx="1780539" cy="705485"/>
          </a:xfrm>
          <a:prstGeom prst="rect">
            <a:avLst/>
          </a:prstGeom>
        </p:spPr>
        <p:txBody>
          <a:bodyPr vert="horz" wrap="square" lIns="0" tIns="71755" rIns="0" bIns="0" rtlCol="0">
            <a:spAutoFit/>
          </a:bodyPr>
          <a:lstStyle/>
          <a:p>
            <a:pPr marL="12700">
              <a:lnSpc>
                <a:spcPct val="100000"/>
              </a:lnSpc>
              <a:spcBef>
                <a:spcPts val="565"/>
              </a:spcBef>
            </a:pPr>
            <a:r>
              <a:rPr sz="1100" b="1" dirty="0">
                <a:solidFill>
                  <a:srgbClr val="FFFFFF"/>
                </a:solidFill>
                <a:latin typeface="Century Gothic"/>
                <a:cs typeface="Century Gothic"/>
              </a:rPr>
              <a:t>BCG Digital</a:t>
            </a:r>
            <a:r>
              <a:rPr sz="1100" b="1" spc="-40" dirty="0">
                <a:solidFill>
                  <a:srgbClr val="FFFFFF"/>
                </a:solidFill>
                <a:latin typeface="Century Gothic"/>
                <a:cs typeface="Century Gothic"/>
              </a:rPr>
              <a:t> </a:t>
            </a:r>
            <a:r>
              <a:rPr sz="1100" b="1" spc="-5" dirty="0">
                <a:solidFill>
                  <a:srgbClr val="FFFFFF"/>
                </a:solidFill>
                <a:latin typeface="Century Gothic"/>
                <a:cs typeface="Century Gothic"/>
              </a:rPr>
              <a:t>Ventures</a:t>
            </a:r>
            <a:endParaRPr sz="1100">
              <a:latin typeface="Century Gothic"/>
              <a:cs typeface="Century Gothic"/>
            </a:endParaRPr>
          </a:p>
          <a:p>
            <a:pPr marL="12700" marR="5080">
              <a:lnSpc>
                <a:spcPct val="134600"/>
              </a:lnSpc>
              <a:spcBef>
                <a:spcPts val="10"/>
              </a:spcBef>
            </a:pPr>
            <a:r>
              <a:rPr sz="1100" spc="-5" dirty="0">
                <a:solidFill>
                  <a:srgbClr val="FFFFFF"/>
                </a:solidFill>
                <a:latin typeface="Century Gothic"/>
                <a:cs typeface="Century Gothic"/>
              </a:rPr>
              <a:t>1240 </a:t>
            </a:r>
            <a:r>
              <a:rPr sz="1100" dirty="0">
                <a:solidFill>
                  <a:srgbClr val="FFFFFF"/>
                </a:solidFill>
                <a:latin typeface="Century Gothic"/>
                <a:cs typeface="Century Gothic"/>
              </a:rPr>
              <a:t>Rosecrans </a:t>
            </a:r>
            <a:r>
              <a:rPr sz="1100" spc="-5" dirty="0">
                <a:solidFill>
                  <a:srgbClr val="FFFFFF"/>
                </a:solidFill>
                <a:latin typeface="Century Gothic"/>
                <a:cs typeface="Century Gothic"/>
              </a:rPr>
              <a:t>Ave.</a:t>
            </a:r>
            <a:r>
              <a:rPr sz="1100" spc="-114" dirty="0">
                <a:solidFill>
                  <a:srgbClr val="FFFFFF"/>
                </a:solidFill>
                <a:latin typeface="Century Gothic"/>
                <a:cs typeface="Century Gothic"/>
              </a:rPr>
              <a:t> </a:t>
            </a:r>
            <a:r>
              <a:rPr sz="1100" spc="-5" dirty="0">
                <a:solidFill>
                  <a:srgbClr val="FFFFFF"/>
                </a:solidFill>
                <a:latin typeface="Century Gothic"/>
                <a:cs typeface="Century Gothic"/>
              </a:rPr>
              <a:t>#500  Manhattan </a:t>
            </a:r>
            <a:r>
              <a:rPr sz="1100" dirty="0">
                <a:solidFill>
                  <a:srgbClr val="FFFFFF"/>
                </a:solidFill>
                <a:latin typeface="Century Gothic"/>
                <a:cs typeface="Century Gothic"/>
              </a:rPr>
              <a:t>Beach,</a:t>
            </a:r>
            <a:r>
              <a:rPr sz="1100" spc="-45" dirty="0">
                <a:solidFill>
                  <a:srgbClr val="FFFFFF"/>
                </a:solidFill>
                <a:latin typeface="Century Gothic"/>
                <a:cs typeface="Century Gothic"/>
              </a:rPr>
              <a:t> </a:t>
            </a:r>
            <a:r>
              <a:rPr sz="1100" dirty="0">
                <a:solidFill>
                  <a:srgbClr val="FFFFFF"/>
                </a:solidFill>
                <a:latin typeface="Century Gothic"/>
                <a:cs typeface="Century Gothic"/>
              </a:rPr>
              <a:t>CA</a:t>
            </a:r>
            <a:endParaRPr sz="1100">
              <a:latin typeface="Century Gothic"/>
              <a:cs typeface="Century Gothic"/>
            </a:endParaRPr>
          </a:p>
        </p:txBody>
      </p:sp>
      <p:sp>
        <p:nvSpPr>
          <p:cNvPr id="19" name="object 11"/>
          <p:cNvSpPr txBox="1"/>
          <p:nvPr userDrawn="1"/>
        </p:nvSpPr>
        <p:spPr>
          <a:xfrm>
            <a:off x="610311" y="6019901"/>
            <a:ext cx="1925320" cy="193675"/>
          </a:xfrm>
          <a:prstGeom prst="rect">
            <a:avLst/>
          </a:prstGeom>
        </p:spPr>
        <p:txBody>
          <a:bodyPr vert="horz" wrap="square" lIns="0" tIns="12700" rIns="0" bIns="0" rtlCol="0">
            <a:spAutoFit/>
          </a:bodyPr>
          <a:lstStyle/>
          <a:p>
            <a:pPr marL="12700">
              <a:lnSpc>
                <a:spcPct val="100000"/>
              </a:lnSpc>
              <a:spcBef>
                <a:spcPts val="100"/>
              </a:spcBef>
            </a:pPr>
            <a:r>
              <a:rPr sz="1100" dirty="0">
                <a:solidFill>
                  <a:srgbClr val="FFFFFF"/>
                </a:solidFill>
                <a:latin typeface="Century Gothic"/>
                <a:cs typeface="Century Gothic"/>
              </a:rPr>
              <a:t>+310-698-1200 /</a:t>
            </a:r>
            <a:r>
              <a:rPr sz="1100" spc="-100" dirty="0">
                <a:solidFill>
                  <a:srgbClr val="FFFFFF"/>
                </a:solidFill>
                <a:latin typeface="Century Gothic"/>
                <a:cs typeface="Century Gothic"/>
              </a:rPr>
              <a:t> </a:t>
            </a:r>
            <a:r>
              <a:rPr sz="1100" dirty="0">
                <a:solidFill>
                  <a:srgbClr val="FFFFFF"/>
                </a:solidFill>
                <a:latin typeface="Century Gothic"/>
                <a:cs typeface="Century Gothic"/>
              </a:rPr>
              <a:t>bcgdv.com</a:t>
            </a:r>
            <a:endParaRPr sz="1100">
              <a:latin typeface="Century Gothic"/>
              <a:cs typeface="Century Gothic"/>
            </a:endParaRPr>
          </a:p>
        </p:txBody>
      </p:sp>
      <p:sp>
        <p:nvSpPr>
          <p:cNvPr id="20" name="object 12"/>
          <p:cNvSpPr txBox="1"/>
          <p:nvPr userDrawn="1"/>
        </p:nvSpPr>
        <p:spPr>
          <a:xfrm>
            <a:off x="610311" y="3528896"/>
            <a:ext cx="2932430" cy="1102360"/>
          </a:xfrm>
          <a:prstGeom prst="rect">
            <a:avLst/>
          </a:prstGeom>
        </p:spPr>
        <p:txBody>
          <a:bodyPr vert="horz" wrap="square" lIns="0" tIns="12700" rIns="0" bIns="0" rtlCol="0">
            <a:spAutoFit/>
          </a:bodyPr>
          <a:lstStyle/>
          <a:p>
            <a:pPr marL="12700" marR="5080">
              <a:lnSpc>
                <a:spcPct val="110400"/>
              </a:lnSpc>
              <a:spcBef>
                <a:spcPts val="100"/>
              </a:spcBef>
            </a:pPr>
            <a:r>
              <a:rPr sz="3200" dirty="0">
                <a:solidFill>
                  <a:srgbClr val="FFFFFF"/>
                </a:solidFill>
                <a:latin typeface="Century Gothic"/>
                <a:cs typeface="Century Gothic"/>
              </a:rPr>
              <a:t>Let’s go get  our hands</a:t>
            </a:r>
            <a:r>
              <a:rPr sz="3200" spc="-110" dirty="0">
                <a:solidFill>
                  <a:srgbClr val="FFFFFF"/>
                </a:solidFill>
                <a:latin typeface="Century Gothic"/>
                <a:cs typeface="Century Gothic"/>
              </a:rPr>
              <a:t> </a:t>
            </a:r>
            <a:r>
              <a:rPr sz="3200" spc="-5" dirty="0">
                <a:solidFill>
                  <a:srgbClr val="FFFFFF"/>
                </a:solidFill>
                <a:latin typeface="Century Gothic"/>
                <a:cs typeface="Century Gothic"/>
              </a:rPr>
              <a:t>dirty</a:t>
            </a:r>
            <a:endParaRPr sz="3200">
              <a:latin typeface="Century Gothic"/>
              <a:cs typeface="Century Gothic"/>
            </a:endParaRPr>
          </a:p>
        </p:txBody>
      </p:sp>
    </p:spTree>
    <p:extLst>
      <p:ext uri="{BB962C8B-B14F-4D97-AF65-F5344CB8AC3E}">
        <p14:creationId xmlns:p14="http://schemas.microsoft.com/office/powerpoint/2010/main" val="2708506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grpSp>
        <p:nvGrpSpPr>
          <p:cNvPr id="51" name="Group 50"/>
          <p:cNvGrpSpPr/>
          <p:nvPr userDrawn="1"/>
        </p:nvGrpSpPr>
        <p:grpSpPr>
          <a:xfrm>
            <a:off x="1200" y="-5773"/>
            <a:ext cx="12189600" cy="6869546"/>
            <a:chOff x="1200" y="-5773"/>
            <a:chExt cx="12189600" cy="6869546"/>
          </a:xfrm>
        </p:grpSpPr>
        <p:sp>
          <p:nvSpPr>
            <p:cNvPr id="52" name="Slide edges"/>
            <p:cNvSpPr>
              <a:spLocks/>
            </p:cNvSpPr>
            <p:nvPr/>
          </p:nvSpPr>
          <p:spPr bwMode="auto">
            <a:xfrm>
              <a:off x="1200" y="-5773"/>
              <a:ext cx="12189600" cy="6869546"/>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6061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ea typeface="+mn-ea"/>
                <a:cs typeface="+mn-cs"/>
              </a:endParaRPr>
            </a:p>
          </p:txBody>
        </p:sp>
        <p:sp>
          <p:nvSpPr>
            <p:cNvPr id="53" name="Footnote measure"/>
            <p:cNvSpPr>
              <a:spLocks noChangeArrowheads="1"/>
            </p:cNvSpPr>
            <p:nvPr/>
          </p:nvSpPr>
          <p:spPr bwMode="auto">
            <a:xfrm>
              <a:off x="628799" y="6160597"/>
              <a:ext cx="10942499" cy="378584"/>
            </a:xfrm>
            <a:prstGeom prst="rect">
              <a:avLst/>
            </a:prstGeom>
            <a:solidFill>
              <a:srgbClr val="A0CD39">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Whitespace measure"/>
            <p:cNvSpPr>
              <a:spLocks noChangeArrowheads="1"/>
            </p:cNvSpPr>
            <p:nvPr/>
          </p:nvSpPr>
          <p:spPr bwMode="auto">
            <a:xfrm>
              <a:off x="622726" y="1502190"/>
              <a:ext cx="10947600" cy="581036"/>
            </a:xfrm>
            <a:prstGeom prst="rect">
              <a:avLst/>
            </a:prstGeom>
            <a:solidFill>
              <a:srgbClr val="A0CD39">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6"/>
            <p:cNvSpPr>
              <a:spLocks noChangeArrowheads="1"/>
            </p:cNvSpPr>
            <p:nvPr/>
          </p:nvSpPr>
          <p:spPr bwMode="auto">
            <a:xfrm>
              <a:off x="628799" y="1502190"/>
              <a:ext cx="10942499" cy="581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No-fly zone"/>
            <p:cNvSpPr>
              <a:spLocks noEditPoints="1"/>
            </p:cNvSpPr>
            <p:nvPr/>
          </p:nvSpPr>
          <p:spPr bwMode="auto">
            <a:xfrm>
              <a:off x="1200" y="0"/>
              <a:ext cx="12189600" cy="6863103"/>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8"/>
            <p:cNvSpPr>
              <a:spLocks noEditPoints="1"/>
            </p:cNvSpPr>
            <p:nvPr/>
          </p:nvSpPr>
          <p:spPr bwMode="auto">
            <a:xfrm>
              <a:off x="1200" y="0"/>
              <a:ext cx="12189600" cy="6863103"/>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0" name="Gutter space"/>
            <p:cNvGrpSpPr/>
            <p:nvPr/>
          </p:nvGrpSpPr>
          <p:grpSpPr>
            <a:xfrm>
              <a:off x="1284742" y="623550"/>
              <a:ext cx="9620491" cy="5537047"/>
              <a:chOff x="2322513" y="1258888"/>
              <a:chExt cx="7543800" cy="4341813"/>
            </a:xfrm>
            <a:solidFill>
              <a:schemeClr val="accent5">
                <a:alpha val="15000"/>
              </a:schemeClr>
            </a:solidFill>
          </p:grpSpPr>
          <p:sp>
            <p:nvSpPr>
              <p:cNvPr id="85"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Baselines/Anchors"/>
            <p:cNvGrpSpPr/>
            <p:nvPr/>
          </p:nvGrpSpPr>
          <p:grpSpPr>
            <a:xfrm>
              <a:off x="1200" y="623550"/>
              <a:ext cx="12189600" cy="5537047"/>
              <a:chOff x="1316038" y="1258888"/>
              <a:chExt cx="9558338" cy="4341813"/>
            </a:xfrm>
          </p:grpSpPr>
          <p:sp>
            <p:nvSpPr>
              <p:cNvPr id="65" name="Line 14"/>
              <p:cNvSpPr>
                <a:spLocks noChangeShapeType="1"/>
              </p:cNvSpPr>
              <p:nvPr/>
            </p:nvSpPr>
            <p:spPr bwMode="auto">
              <a:xfrm>
                <a:off x="1316038" y="14874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Line 15"/>
              <p:cNvSpPr>
                <a:spLocks noChangeShapeType="1"/>
              </p:cNvSpPr>
              <p:nvPr/>
            </p:nvSpPr>
            <p:spPr bwMode="auto">
              <a:xfrm>
                <a:off x="1316038" y="12588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7" name="Line 16"/>
              <p:cNvSpPr>
                <a:spLocks noChangeShapeType="1"/>
              </p:cNvSpPr>
              <p:nvPr/>
            </p:nvSpPr>
            <p:spPr bwMode="auto">
              <a:xfrm>
                <a:off x="1316038" y="56007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8" name="Line 17"/>
              <p:cNvSpPr>
                <a:spLocks noChangeShapeType="1"/>
              </p:cNvSpPr>
              <p:nvPr/>
            </p:nvSpPr>
            <p:spPr bwMode="auto">
              <a:xfrm>
                <a:off x="1316038" y="1717676"/>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9" name="Line 18"/>
              <p:cNvSpPr>
                <a:spLocks noChangeShapeType="1"/>
              </p:cNvSpPr>
              <p:nvPr/>
            </p:nvSpPr>
            <p:spPr bwMode="auto">
              <a:xfrm>
                <a:off x="1316038" y="1946276"/>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0" name="Line 19"/>
              <p:cNvSpPr>
                <a:spLocks noChangeShapeType="1"/>
              </p:cNvSpPr>
              <p:nvPr/>
            </p:nvSpPr>
            <p:spPr bwMode="auto">
              <a:xfrm>
                <a:off x="1316038" y="21732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1" name="Line 20"/>
              <p:cNvSpPr>
                <a:spLocks noChangeShapeType="1"/>
              </p:cNvSpPr>
              <p:nvPr/>
            </p:nvSpPr>
            <p:spPr bwMode="auto">
              <a:xfrm>
                <a:off x="1316038" y="24018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2" name="Line 21"/>
              <p:cNvSpPr>
                <a:spLocks noChangeShapeType="1"/>
              </p:cNvSpPr>
              <p:nvPr/>
            </p:nvSpPr>
            <p:spPr bwMode="auto">
              <a:xfrm>
                <a:off x="1316038" y="26304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3" name="Line 22"/>
              <p:cNvSpPr>
                <a:spLocks noChangeShapeType="1"/>
              </p:cNvSpPr>
              <p:nvPr/>
            </p:nvSpPr>
            <p:spPr bwMode="auto">
              <a:xfrm>
                <a:off x="1316038" y="28590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4" name="Line 23"/>
              <p:cNvSpPr>
                <a:spLocks noChangeShapeType="1"/>
              </p:cNvSpPr>
              <p:nvPr/>
            </p:nvSpPr>
            <p:spPr bwMode="auto">
              <a:xfrm>
                <a:off x="1316038" y="30876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5" name="Line 24"/>
              <p:cNvSpPr>
                <a:spLocks noChangeShapeType="1"/>
              </p:cNvSpPr>
              <p:nvPr/>
            </p:nvSpPr>
            <p:spPr bwMode="auto">
              <a:xfrm>
                <a:off x="1316038" y="33162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6" name="Line 25"/>
              <p:cNvSpPr>
                <a:spLocks noChangeShapeType="1"/>
              </p:cNvSpPr>
              <p:nvPr/>
            </p:nvSpPr>
            <p:spPr bwMode="auto">
              <a:xfrm>
                <a:off x="1316038" y="35433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7" name="Line 26"/>
              <p:cNvSpPr>
                <a:spLocks noChangeShapeType="1"/>
              </p:cNvSpPr>
              <p:nvPr/>
            </p:nvSpPr>
            <p:spPr bwMode="auto">
              <a:xfrm>
                <a:off x="1316038" y="37719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8" name="Line 27"/>
              <p:cNvSpPr>
                <a:spLocks noChangeShapeType="1"/>
              </p:cNvSpPr>
              <p:nvPr/>
            </p:nvSpPr>
            <p:spPr bwMode="auto">
              <a:xfrm>
                <a:off x="1316038" y="40005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9" name="Line 28"/>
              <p:cNvSpPr>
                <a:spLocks noChangeShapeType="1"/>
              </p:cNvSpPr>
              <p:nvPr/>
            </p:nvSpPr>
            <p:spPr bwMode="auto">
              <a:xfrm>
                <a:off x="1316038" y="4230688"/>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0" name="Line 29"/>
              <p:cNvSpPr>
                <a:spLocks noChangeShapeType="1"/>
              </p:cNvSpPr>
              <p:nvPr/>
            </p:nvSpPr>
            <p:spPr bwMode="auto">
              <a:xfrm>
                <a:off x="1316038" y="44577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1" name="Line 30"/>
              <p:cNvSpPr>
                <a:spLocks noChangeShapeType="1"/>
              </p:cNvSpPr>
              <p:nvPr/>
            </p:nvSpPr>
            <p:spPr bwMode="auto">
              <a:xfrm>
                <a:off x="1316038" y="46863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2" name="Line 31"/>
              <p:cNvSpPr>
                <a:spLocks noChangeShapeType="1"/>
              </p:cNvSpPr>
              <p:nvPr/>
            </p:nvSpPr>
            <p:spPr bwMode="auto">
              <a:xfrm>
                <a:off x="1316038" y="49149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3" name="Line 32"/>
              <p:cNvSpPr>
                <a:spLocks noChangeShapeType="1"/>
              </p:cNvSpPr>
              <p:nvPr/>
            </p:nvSpPr>
            <p:spPr bwMode="auto">
              <a:xfrm>
                <a:off x="1316038" y="5141913"/>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4" name="Line 33"/>
              <p:cNvSpPr>
                <a:spLocks noChangeShapeType="1"/>
              </p:cNvSpPr>
              <p:nvPr/>
            </p:nvSpPr>
            <p:spPr bwMode="auto">
              <a:xfrm>
                <a:off x="1316038" y="5372101"/>
                <a:ext cx="955833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2" name="Five column measure"/>
            <p:cNvSpPr>
              <a:spLocks noEditPoints="1"/>
            </p:cNvSpPr>
            <p:nvPr/>
          </p:nvSpPr>
          <p:spPr bwMode="auto">
            <a:xfrm>
              <a:off x="628799" y="5984464"/>
              <a:ext cx="10942499" cy="66810"/>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606164">
                <a:alpha val="15000"/>
              </a:srgb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Live space"/>
            <p:cNvSpPr/>
            <p:nvPr/>
          </p:nvSpPr>
          <p:spPr>
            <a:xfrm>
              <a:off x="628798" y="2085250"/>
              <a:ext cx="10938451" cy="407534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64" name="Footnote example"/>
            <p:cNvSpPr txBox="1"/>
            <p:nvPr/>
          </p:nvSpPr>
          <p:spPr>
            <a:xfrm>
              <a:off x="630000" y="6144442"/>
              <a:ext cx="9030914" cy="415498"/>
            </a:xfrm>
            <a:prstGeom prst="rect">
              <a:avLst/>
            </a:prstGeom>
            <a:noFill/>
          </p:spPr>
          <p:txBody>
            <a:bodyPr wrap="square" lIns="0" tIns="0" rIns="0" bIns="0" rtlCol="0" anchor="b">
              <a:spAutoFit/>
            </a:bodyPr>
            <a:lstStyle/>
            <a:p>
              <a:pPr lvl="0">
                <a:lnSpc>
                  <a:spcPct val="90000"/>
                </a:lnSpc>
                <a:defRPr/>
              </a:pPr>
              <a:r>
                <a:rPr lang="en-US" sz="1000" dirty="0">
                  <a:solidFill>
                    <a:srgbClr val="7F7F7F"/>
                  </a:solidFill>
                  <a:sym typeface="Trebuchet MS" panose="020B0603020202020204" pitchFamily="34" charset="0"/>
                </a:rPr>
                <a:t>1. xxxx  2. xxxx  3. xxxx</a:t>
              </a:r>
            </a:p>
            <a:p>
              <a:pPr lvl="0">
                <a:lnSpc>
                  <a:spcPct val="90000"/>
                </a:lnSpc>
                <a:defRPr/>
              </a:pPr>
              <a:r>
                <a:rPr lang="en-US" sz="1000" dirty="0">
                  <a:solidFill>
                    <a:srgbClr val="7F7F7F"/>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srgbClr val="7F7F7F"/>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258839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246"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Box 6"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4"/>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079492" y="1115416"/>
            <a:ext cx="2549096" cy="881780"/>
          </a:xfrm>
          <a:prstGeom prst="rect">
            <a:avLst/>
          </a:prstGeom>
          <a:noFill/>
        </p:spPr>
        <p:txBody>
          <a:bodyPr wrap="none" rtlCol="0">
            <a:spAutoFit/>
          </a:bodyPr>
          <a:lstStyle/>
          <a:p>
            <a:pPr algn="ctr" fontAlgn="auto">
              <a:lnSpc>
                <a:spcPct val="95000"/>
              </a:lnSpc>
              <a:spcBef>
                <a:spcPts val="0"/>
              </a:spcBef>
              <a:spcAft>
                <a:spcPts val="0"/>
              </a:spcAft>
            </a:pPr>
            <a:r>
              <a:rPr lang="en-US" sz="5400" b="1" dirty="0">
                <a:solidFill>
                  <a:schemeClr val="bg1"/>
                </a:solidFill>
                <a:latin typeface="+mj-lt"/>
              </a:rPr>
              <a:t>Agenda</a:t>
            </a:r>
          </a:p>
        </p:txBody>
      </p:sp>
    </p:spTree>
    <p:extLst>
      <p:ext uri="{BB962C8B-B14F-4D97-AF65-F5344CB8AC3E}">
        <p14:creationId xmlns:p14="http://schemas.microsoft.com/office/powerpoint/2010/main" val="30986384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27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4327233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32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29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751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2C2C2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rPr>
              <a:t>Agenda</a:t>
            </a:r>
          </a:p>
        </p:txBody>
      </p:sp>
    </p:spTree>
    <p:extLst>
      <p:ext uri="{BB962C8B-B14F-4D97-AF65-F5344CB8AC3E}">
        <p14:creationId xmlns:p14="http://schemas.microsoft.com/office/powerpoint/2010/main" val="1808425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rgbClr val="8A9B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8A9B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rgbClr val="8A9B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079492" y="1115416"/>
            <a:ext cx="2549096"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dirty="0">
                <a:solidFill>
                  <a:srgbClr val="8A9BB0"/>
                </a:solidFill>
              </a:rPr>
              <a:t>Agenda</a:t>
            </a:r>
          </a:p>
        </p:txBody>
      </p:sp>
    </p:spTree>
    <p:extLst>
      <p:ext uri="{BB962C8B-B14F-4D97-AF65-F5344CB8AC3E}">
        <p14:creationId xmlns:p14="http://schemas.microsoft.com/office/powerpoint/2010/main" val="3001825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3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rgbClr val="8A9B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8A9B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723445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3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dirty="0">
                <a:solidFill>
                  <a:srgbClr val="8A9BB0"/>
                </a:solidFill>
              </a:rPr>
              <a:t>Agenda</a:t>
            </a:r>
          </a:p>
        </p:txBody>
      </p:sp>
      <p:cxnSp>
        <p:nvCxnSpPr>
          <p:cNvPr id="9" name="Straight Connector 8"/>
          <p:cNvCxnSpPr/>
          <p:nvPr userDrawn="1"/>
        </p:nvCxnSpPr>
        <p:spPr bwMode="white">
          <a:xfrm>
            <a:off x="618898" y="1206000"/>
            <a:ext cx="11576304" cy="0"/>
          </a:xfrm>
          <a:prstGeom prst="line">
            <a:avLst/>
          </a:prstGeom>
          <a:ln w="9525" cmpd="sng">
            <a:solidFill>
              <a:srgbClr val="8A9B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4097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2C2C2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4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dirty="0">
                <a:solidFill>
                  <a:schemeClr val="bg1"/>
                </a:solidFill>
              </a:rPr>
              <a:t>Agenda</a:t>
            </a:r>
          </a:p>
        </p:txBody>
      </p:sp>
    </p:spTree>
    <p:extLst>
      <p:ext uri="{BB962C8B-B14F-4D97-AF65-F5344CB8AC3E}">
        <p14:creationId xmlns:p14="http://schemas.microsoft.com/office/powerpoint/2010/main" val="39270576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2C2C2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4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userDrawn="1"/>
        </p:nvSpPr>
        <p:spPr>
          <a:xfrm>
            <a:off x="0" y="0"/>
            <a:ext cx="12192000" cy="6858000"/>
          </a:xfrm>
          <a:prstGeom prst="rect">
            <a:avLst/>
          </a:prstGeom>
          <a:blipFill>
            <a:blip r:embed="rId7">
              <a:alphaModFix amt="10000"/>
            </a:blip>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Freeform 9"/>
          <p:cNvSpPr/>
          <p:nvPr userDrawn="1"/>
        </p:nvSpPr>
        <p:spPr bwMode="ltGray">
          <a:xfrm>
            <a:off x="1" y="0"/>
            <a:ext cx="4402245" cy="6858000"/>
          </a:xfrm>
          <a:custGeom>
            <a:avLst/>
            <a:gdLst>
              <a:gd name="connsiteX0" fmla="*/ 0 w 4402245"/>
              <a:gd name="connsiteY0" fmla="*/ 0 h 6858000"/>
              <a:gd name="connsiteX1" fmla="*/ 596325 w 4402245"/>
              <a:gd name="connsiteY1" fmla="*/ 0 h 6858000"/>
              <a:gd name="connsiteX2" fmla="*/ 910003 w 4402245"/>
              <a:gd name="connsiteY2" fmla="*/ 0 h 6858000"/>
              <a:gd name="connsiteX3" fmla="*/ 3861258 w 4402245"/>
              <a:gd name="connsiteY3" fmla="*/ 0 h 6858000"/>
              <a:gd name="connsiteX4" fmla="*/ 4402245 w 4402245"/>
              <a:gd name="connsiteY4" fmla="*/ 2252964 h 6858000"/>
              <a:gd name="connsiteX5" fmla="*/ 2307225 w 4402245"/>
              <a:gd name="connsiteY5" fmla="*/ 6858000 h 6858000"/>
              <a:gd name="connsiteX6" fmla="*/ 910003 w 4402245"/>
              <a:gd name="connsiteY6" fmla="*/ 6858000 h 6858000"/>
              <a:gd name="connsiteX7" fmla="*/ 596325 w 4402245"/>
              <a:gd name="connsiteY7" fmla="*/ 6858000 h 6858000"/>
              <a:gd name="connsiteX8" fmla="*/ 0 w 4402245"/>
              <a:gd name="connsiteY8" fmla="*/ 6858000 h 6858000"/>
              <a:gd name="connsiteX9" fmla="*/ 0 w 4402245"/>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2245" h="6858000">
                <a:moveTo>
                  <a:pt x="0" y="0"/>
                </a:moveTo>
                <a:lnTo>
                  <a:pt x="596325" y="0"/>
                </a:lnTo>
                <a:lnTo>
                  <a:pt x="910003" y="0"/>
                </a:lnTo>
                <a:lnTo>
                  <a:pt x="3861258" y="0"/>
                </a:lnTo>
                <a:lnTo>
                  <a:pt x="4402245" y="2252964"/>
                </a:lnTo>
                <a:lnTo>
                  <a:pt x="2307225" y="6858000"/>
                </a:lnTo>
                <a:lnTo>
                  <a:pt x="910003" y="6858000"/>
                </a:lnTo>
                <a:lnTo>
                  <a:pt x="596325" y="6858000"/>
                </a:lnTo>
                <a:lnTo>
                  <a:pt x="0" y="685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1" name="Group 10"/>
          <p:cNvGrpSpPr/>
          <p:nvPr userDrawn="1"/>
        </p:nvGrpSpPr>
        <p:grpSpPr>
          <a:xfrm>
            <a:off x="2188930" y="0"/>
            <a:ext cx="2511605" cy="6858000"/>
            <a:chOff x="1705620" y="0"/>
            <a:chExt cx="2511605" cy="6858000"/>
          </a:xfrm>
        </p:grpSpPr>
        <p:sp>
          <p:nvSpPr>
            <p:cNvPr id="12" name="Freeform 11"/>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 name="Parallelogram 13"/>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20" name="TextBox 19"/>
          <p:cNvSpPr txBox="1"/>
          <p:nvPr userDrawn="1"/>
        </p:nvSpPr>
        <p:spPr>
          <a:xfrm>
            <a:off x="630000" y="2548118"/>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chemeClr val="tx2"/>
                </a:solidFill>
                <a:latin typeface="Trebuchet MS" panose="020B0603020202020204" pitchFamily="34" charset="0"/>
                <a:sym typeface="Trebuchet MS" panose="020B0603020202020204" pitchFamily="34" charset="0"/>
              </a:rPr>
              <a:t>Table of contents</a:t>
            </a:r>
          </a:p>
        </p:txBody>
      </p:sp>
    </p:spTree>
    <p:extLst>
      <p:ext uri="{BB962C8B-B14F-4D97-AF65-F5344CB8AC3E}">
        <p14:creationId xmlns:p14="http://schemas.microsoft.com/office/powerpoint/2010/main" val="4214227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36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34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8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346"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39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36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1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12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14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1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2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75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3" name="Rectangle 2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24" name="Picture 23"/>
          <p:cNvPicPr>
            <a:picLocks noChangeAspect="1"/>
          </p:cNvPicPr>
          <p:nvPr userDrawn="1"/>
        </p:nvPicPr>
        <p:blipFill rotWithShape="1">
          <a:blip r:embed="rId7" cstate="print">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33" name="Picture 32"/>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0" y="-1"/>
            <a:ext cx="12191208" cy="5279183"/>
          </a:xfrm>
          <a:prstGeom prst="rect">
            <a:avLst/>
          </a:prstGeom>
        </p:spPr>
      </p:pic>
      <p:sp>
        <p:nvSpPr>
          <p:cNvPr id="34" name="Rectangle 33"/>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35"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3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3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38" name="Picture 37"/>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804320" y="508849"/>
            <a:ext cx="3898309" cy="1299436"/>
          </a:xfrm>
          <a:prstGeom prst="rect">
            <a:avLst/>
          </a:prstGeom>
        </p:spPr>
      </p:pic>
    </p:spTree>
    <p:extLst>
      <p:ext uri="{BB962C8B-B14F-4D97-AF65-F5344CB8AC3E}">
        <p14:creationId xmlns:p14="http://schemas.microsoft.com/office/powerpoint/2010/main" val="1726717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2834AED2-04CE-4B19-9C15-F2779FFF7CEE}"/>
              </a:ext>
            </a:extLst>
          </p:cNvPr>
          <p:cNvSpPr/>
          <p:nvPr userDrawn="1">
            <p:custDataLst>
              <p:tags r:id="rId2"/>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782"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435264"/>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737320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80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b="1">
                <a:solidFill>
                  <a:srgbClr val="435264"/>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b="1"/>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67092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83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b="1">
                <a:solidFill>
                  <a:srgbClr val="435264"/>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91375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rrow Layout Gray">
    <p:bg>
      <p:bgPr>
        <a:solidFill>
          <a:srgbClr val="2C2C2C"/>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5750BAD2-F8A7-4450-87AF-AB84CC819CB0}"/>
              </a:ext>
            </a:extLst>
          </p:cNvPr>
          <p:cNvSpPr/>
          <p:nvPr userDrawn="1">
            <p:custDataLst>
              <p:tags r:id="rId3"/>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3" name="Object 2"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854" name="think-cell Slide" r:id="rId7" imgW="352" imgH="355" progId="TCLayout.ActiveDocument.1">
                  <p:embed/>
                </p:oleObj>
              </mc:Choice>
              <mc:Fallback>
                <p:oleObj name="think-cell Slide" r:id="rId7" imgW="352" imgH="355"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grpSp>
        <p:nvGrpSpPr>
          <p:cNvPr id="8" name="Group 7"/>
          <p:cNvGrpSpPr/>
          <p:nvPr userDrawn="1"/>
        </p:nvGrpSpPr>
        <p:grpSpPr>
          <a:xfrm>
            <a:off x="0" y="0"/>
            <a:ext cx="10132146" cy="6858000"/>
            <a:chOff x="0" y="0"/>
            <a:chExt cx="10132146" cy="6858000"/>
          </a:xfrm>
        </p:grpSpPr>
        <p:sp>
          <p:nvSpPr>
            <p:cNvPr id="28" name="Freeform 27"/>
            <p:cNvSpPr/>
            <p:nvPr userDrawn="1"/>
          </p:nvSpPr>
          <p:spPr bwMode="ltGray">
            <a:xfrm>
              <a:off x="0" y="0"/>
              <a:ext cx="9833856" cy="6858000"/>
            </a:xfrm>
            <a:custGeom>
              <a:avLst/>
              <a:gdLst>
                <a:gd name="connsiteX0" fmla="*/ 0 w 9833856"/>
                <a:gd name="connsiteY0" fmla="*/ 0 h 6858000"/>
                <a:gd name="connsiteX1" fmla="*/ 1325114 w 9833856"/>
                <a:gd name="connsiteY1" fmla="*/ 0 h 6858000"/>
                <a:gd name="connsiteX2" fmla="*/ 2337741 w 9833856"/>
                <a:gd name="connsiteY2" fmla="*/ 0 h 6858000"/>
                <a:gd name="connsiteX3" fmla="*/ 4322314 w 9833856"/>
                <a:gd name="connsiteY3" fmla="*/ 0 h 6858000"/>
                <a:gd name="connsiteX4" fmla="*/ 4868414 w 9833856"/>
                <a:gd name="connsiteY4" fmla="*/ 0 h 6858000"/>
                <a:gd name="connsiteX5" fmla="*/ 6027936 w 9833856"/>
                <a:gd name="connsiteY5" fmla="*/ 0 h 6858000"/>
                <a:gd name="connsiteX6" fmla="*/ 6341614 w 9833856"/>
                <a:gd name="connsiteY6" fmla="*/ 0 h 6858000"/>
                <a:gd name="connsiteX7" fmla="*/ 9292869 w 9833856"/>
                <a:gd name="connsiteY7" fmla="*/ 0 h 6858000"/>
                <a:gd name="connsiteX8" fmla="*/ 9833856 w 9833856"/>
                <a:gd name="connsiteY8" fmla="*/ 2252964 h 6858000"/>
                <a:gd name="connsiteX9" fmla="*/ 7738836 w 9833856"/>
                <a:gd name="connsiteY9" fmla="*/ 6858000 h 6858000"/>
                <a:gd name="connsiteX10" fmla="*/ 6341614 w 9833856"/>
                <a:gd name="connsiteY10" fmla="*/ 6858000 h 6858000"/>
                <a:gd name="connsiteX11" fmla="*/ 6027936 w 9833856"/>
                <a:gd name="connsiteY11" fmla="*/ 6858000 h 6858000"/>
                <a:gd name="connsiteX12" fmla="*/ 4868414 w 9833856"/>
                <a:gd name="connsiteY12" fmla="*/ 6858000 h 6858000"/>
                <a:gd name="connsiteX13" fmla="*/ 4322314 w 9833856"/>
                <a:gd name="connsiteY13" fmla="*/ 6858000 h 6858000"/>
                <a:gd name="connsiteX14" fmla="*/ 2337741 w 9833856"/>
                <a:gd name="connsiteY14" fmla="*/ 6858000 h 6858000"/>
                <a:gd name="connsiteX15" fmla="*/ 1325114 w 9833856"/>
                <a:gd name="connsiteY15" fmla="*/ 6858000 h 6858000"/>
                <a:gd name="connsiteX16" fmla="*/ 0 w 9833856"/>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833856" h="6858000">
                  <a:moveTo>
                    <a:pt x="0" y="0"/>
                  </a:moveTo>
                  <a:lnTo>
                    <a:pt x="1325114" y="0"/>
                  </a:lnTo>
                  <a:lnTo>
                    <a:pt x="2337741" y="0"/>
                  </a:lnTo>
                  <a:lnTo>
                    <a:pt x="4322314" y="0"/>
                  </a:lnTo>
                  <a:lnTo>
                    <a:pt x="4868414" y="0"/>
                  </a:lnTo>
                  <a:lnTo>
                    <a:pt x="6027936" y="0"/>
                  </a:lnTo>
                  <a:lnTo>
                    <a:pt x="6341614" y="0"/>
                  </a:lnTo>
                  <a:lnTo>
                    <a:pt x="9292869" y="0"/>
                  </a:lnTo>
                  <a:lnTo>
                    <a:pt x="9833856" y="2252964"/>
                  </a:lnTo>
                  <a:lnTo>
                    <a:pt x="7738836" y="6858000"/>
                  </a:lnTo>
                  <a:lnTo>
                    <a:pt x="6341614" y="6858000"/>
                  </a:lnTo>
                  <a:lnTo>
                    <a:pt x="6027936" y="6858000"/>
                  </a:lnTo>
                  <a:lnTo>
                    <a:pt x="4868414" y="6858000"/>
                  </a:lnTo>
                  <a:lnTo>
                    <a:pt x="4322314" y="6858000"/>
                  </a:lnTo>
                  <a:lnTo>
                    <a:pt x="2337741" y="6858000"/>
                  </a:lnTo>
                  <a:lnTo>
                    <a:pt x="1325114" y="6858000"/>
                  </a:lnTo>
                  <a:lnTo>
                    <a:pt x="0" y="6858000"/>
                  </a:lnTo>
                  <a:close/>
                </a:path>
              </a:pathLst>
            </a:cu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7" name="Group 6"/>
            <p:cNvGrpSpPr/>
            <p:nvPr userDrawn="1"/>
          </p:nvGrpSpPr>
          <p:grpSpPr>
            <a:xfrm>
              <a:off x="0" y="0"/>
              <a:ext cx="10132146" cy="6858000"/>
              <a:chOff x="927100" y="0"/>
              <a:chExt cx="10132146" cy="6858000"/>
            </a:xfrm>
          </p:grpSpPr>
          <p:sp>
            <p:nvSpPr>
              <p:cNvPr id="31" name="Freeform 30"/>
              <p:cNvSpPr/>
              <p:nvPr userDrawn="1"/>
            </p:nvSpPr>
            <p:spPr bwMode="ltGray">
              <a:xfrm>
                <a:off x="927100" y="0"/>
                <a:ext cx="9833856" cy="6858000"/>
              </a:xfrm>
              <a:custGeom>
                <a:avLst/>
                <a:gdLst>
                  <a:gd name="connsiteX0" fmla="*/ 0 w 9833856"/>
                  <a:gd name="connsiteY0" fmla="*/ 0 h 6858000"/>
                  <a:gd name="connsiteX1" fmla="*/ 1325114 w 9833856"/>
                  <a:gd name="connsiteY1" fmla="*/ 0 h 6858000"/>
                  <a:gd name="connsiteX2" fmla="*/ 2337741 w 9833856"/>
                  <a:gd name="connsiteY2" fmla="*/ 0 h 6858000"/>
                  <a:gd name="connsiteX3" fmla="*/ 4322314 w 9833856"/>
                  <a:gd name="connsiteY3" fmla="*/ 0 h 6858000"/>
                  <a:gd name="connsiteX4" fmla="*/ 4868414 w 9833856"/>
                  <a:gd name="connsiteY4" fmla="*/ 0 h 6858000"/>
                  <a:gd name="connsiteX5" fmla="*/ 6027936 w 9833856"/>
                  <a:gd name="connsiteY5" fmla="*/ 0 h 6858000"/>
                  <a:gd name="connsiteX6" fmla="*/ 6341614 w 9833856"/>
                  <a:gd name="connsiteY6" fmla="*/ 0 h 6858000"/>
                  <a:gd name="connsiteX7" fmla="*/ 9292869 w 9833856"/>
                  <a:gd name="connsiteY7" fmla="*/ 0 h 6858000"/>
                  <a:gd name="connsiteX8" fmla="*/ 9833856 w 9833856"/>
                  <a:gd name="connsiteY8" fmla="*/ 2252964 h 6858000"/>
                  <a:gd name="connsiteX9" fmla="*/ 7738836 w 9833856"/>
                  <a:gd name="connsiteY9" fmla="*/ 6858000 h 6858000"/>
                  <a:gd name="connsiteX10" fmla="*/ 6341614 w 9833856"/>
                  <a:gd name="connsiteY10" fmla="*/ 6858000 h 6858000"/>
                  <a:gd name="connsiteX11" fmla="*/ 6027936 w 9833856"/>
                  <a:gd name="connsiteY11" fmla="*/ 6858000 h 6858000"/>
                  <a:gd name="connsiteX12" fmla="*/ 4868414 w 9833856"/>
                  <a:gd name="connsiteY12" fmla="*/ 6858000 h 6858000"/>
                  <a:gd name="connsiteX13" fmla="*/ 4322314 w 9833856"/>
                  <a:gd name="connsiteY13" fmla="*/ 6858000 h 6858000"/>
                  <a:gd name="connsiteX14" fmla="*/ 2337741 w 9833856"/>
                  <a:gd name="connsiteY14" fmla="*/ 6858000 h 6858000"/>
                  <a:gd name="connsiteX15" fmla="*/ 1325114 w 9833856"/>
                  <a:gd name="connsiteY15" fmla="*/ 6858000 h 6858000"/>
                  <a:gd name="connsiteX16" fmla="*/ 0 w 9833856"/>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833856" h="6858000">
                    <a:moveTo>
                      <a:pt x="0" y="0"/>
                    </a:moveTo>
                    <a:lnTo>
                      <a:pt x="1325114" y="0"/>
                    </a:lnTo>
                    <a:lnTo>
                      <a:pt x="2337741" y="0"/>
                    </a:lnTo>
                    <a:lnTo>
                      <a:pt x="4322314" y="0"/>
                    </a:lnTo>
                    <a:lnTo>
                      <a:pt x="4868414" y="0"/>
                    </a:lnTo>
                    <a:lnTo>
                      <a:pt x="6027936" y="0"/>
                    </a:lnTo>
                    <a:lnTo>
                      <a:pt x="6341614" y="0"/>
                    </a:lnTo>
                    <a:lnTo>
                      <a:pt x="9292869" y="0"/>
                    </a:lnTo>
                    <a:lnTo>
                      <a:pt x="9833856" y="2252964"/>
                    </a:lnTo>
                    <a:lnTo>
                      <a:pt x="7738836" y="6858000"/>
                    </a:lnTo>
                    <a:lnTo>
                      <a:pt x="6341614" y="6858000"/>
                    </a:lnTo>
                    <a:lnTo>
                      <a:pt x="6027936" y="6858000"/>
                    </a:lnTo>
                    <a:lnTo>
                      <a:pt x="4868414" y="6858000"/>
                    </a:lnTo>
                    <a:lnTo>
                      <a:pt x="4322314" y="6858000"/>
                    </a:lnTo>
                    <a:lnTo>
                      <a:pt x="2337741" y="6858000"/>
                    </a:lnTo>
                    <a:lnTo>
                      <a:pt x="1325114" y="6858000"/>
                    </a:lnTo>
                    <a:lnTo>
                      <a:pt x="0" y="6858000"/>
                    </a:lnTo>
                    <a:close/>
                  </a:path>
                </a:pathLst>
              </a:custGeom>
              <a:blipFill>
                <a:blip r:embed="rId9">
                  <a:alphaModFix amt="10000"/>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5" name="Group 14"/>
              <p:cNvGrpSpPr/>
              <p:nvPr userDrawn="1"/>
            </p:nvGrpSpPr>
            <p:grpSpPr>
              <a:xfrm>
                <a:off x="8547641" y="0"/>
                <a:ext cx="2511605" cy="6858000"/>
                <a:chOff x="1705620" y="0"/>
                <a:chExt cx="2511605" cy="6858000"/>
              </a:xfrm>
            </p:grpSpPr>
            <p:sp>
              <p:nvSpPr>
                <p:cNvPr id="16" name="Freeform 15"/>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Parallelogram 20"/>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grpSp>
      <p:sp>
        <p:nvSpPr>
          <p:cNvPr id="11" name="Title 3"/>
          <p:cNvSpPr>
            <a:spLocks noGrp="1"/>
          </p:cNvSpPr>
          <p:nvPr userDrawn="1">
            <p:ph type="title" hasCustomPrompt="1"/>
          </p:nvPr>
        </p:nvSpPr>
        <p:spPr>
          <a:xfrm>
            <a:off x="630000" y="622800"/>
            <a:ext cx="687002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userDrawn="1">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dirty="0"/>
          </a:p>
        </p:txBody>
      </p:sp>
      <p:sp>
        <p:nvSpPr>
          <p:cNvPr id="18" name="TextBox 1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67953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ext with Line">
    <p:bg>
      <p:bgPr>
        <a:solidFill>
          <a:srgbClr val="40404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7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6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7" name="Date Placeholder 3"/>
          <p:cNvSpPr>
            <a:spLocks noGrp="1"/>
          </p:cNvSpPr>
          <p:nvPr userDrawn="1">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cxnSp>
        <p:nvCxnSpPr>
          <p:cNvPr id="22" name="Straight Connector 21"/>
          <p:cNvCxnSpPr/>
          <p:nvPr userDrawn="1"/>
        </p:nvCxnSpPr>
        <p:spPr>
          <a:xfrm>
            <a:off x="4556973" y="582701"/>
            <a:ext cx="0" cy="5692599"/>
          </a:xfrm>
          <a:prstGeom prst="line">
            <a:avLst/>
          </a:prstGeom>
          <a:ln w="9525" cap="flat" cmpd="sng" algn="ctr">
            <a:solidFill>
              <a:srgbClr val="FFFFFF"/>
            </a:solidFill>
            <a:prstDash val="solid"/>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hasCustomPrompt="1"/>
          </p:nvPr>
        </p:nvSpPr>
        <p:spPr>
          <a:xfrm>
            <a:off x="593152" y="1051351"/>
            <a:ext cx="3617252" cy="498598"/>
          </a:xfrm>
        </p:spPr>
        <p:txBody>
          <a:bodyPr/>
          <a:lstStyle>
            <a:lvl1pPr>
              <a:defRPr sz="3600">
                <a:solidFill>
                  <a:srgbClr val="FFFFFF"/>
                </a:solidFill>
              </a:defRPr>
            </a:lvl1pPr>
          </a:lstStyle>
          <a:p>
            <a:r>
              <a:rPr lang="en-US" dirty="0"/>
              <a:t>Click to add text</a:t>
            </a:r>
          </a:p>
        </p:txBody>
      </p:sp>
    </p:spTree>
    <p:extLst>
      <p:ext uri="{BB962C8B-B14F-4D97-AF65-F5344CB8AC3E}">
        <p14:creationId xmlns:p14="http://schemas.microsoft.com/office/powerpoint/2010/main" val="22650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One third with im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90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6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7" name="Date Placeholder 3"/>
          <p:cNvSpPr>
            <a:spLocks noGrp="1"/>
          </p:cNvSpPr>
          <p:nvPr userDrawn="1">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8" cstate="print">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1" y="-1"/>
            <a:ext cx="4076700" cy="6867525"/>
          </a:xfrm>
          <a:prstGeom prst="rect">
            <a:avLst/>
          </a:prstGeom>
        </p:spPr>
      </p:pic>
      <p:sp>
        <p:nvSpPr>
          <p:cNvPr id="12" name="Rectangle 11"/>
          <p:cNvSpPr/>
          <p:nvPr userDrawn="1"/>
        </p:nvSpPr>
        <p:spPr>
          <a:xfrm>
            <a:off x="1" y="0"/>
            <a:ext cx="4076700" cy="6858000"/>
          </a:xfrm>
          <a:prstGeom prst="rect">
            <a:avLst/>
          </a:prstGeom>
          <a:solidFill>
            <a:srgbClr val="2C2C2C">
              <a:alpha val="6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000000">
                  <a:alpha val="50000"/>
                </a:srgbClr>
              </a:solidFill>
            </a:endParaRPr>
          </a:p>
        </p:txBody>
      </p:sp>
      <p:sp>
        <p:nvSpPr>
          <p:cNvPr id="13" name="Title 1"/>
          <p:cNvSpPr>
            <a:spLocks noGrp="1"/>
          </p:cNvSpPr>
          <p:nvPr>
            <p:ph type="title"/>
          </p:nvPr>
        </p:nvSpPr>
        <p:spPr>
          <a:xfrm>
            <a:off x="630000" y="2681103"/>
            <a:ext cx="3127881" cy="1495794"/>
          </a:xfrm>
          <a:prstGeom prst="rect">
            <a:avLst/>
          </a:prstGeom>
        </p:spPr>
        <p:txBody>
          <a:bodyPr anchor="ctr">
            <a:noAutofit/>
          </a:bodyPr>
          <a:lstStyle>
            <a:lvl1pPr>
              <a:defRPr>
                <a:solidFill>
                  <a:srgbClr val="A0CD39"/>
                </a:solidFill>
              </a:defRPr>
            </a:lvl1pPr>
          </a:lstStyle>
          <a:p>
            <a:pPr>
              <a:buSzPts val="2400"/>
            </a:pPr>
            <a:r>
              <a:rPr lang="en-US" sz="2800">
                <a:solidFill>
                  <a:srgbClr val="A0CD39"/>
                </a:solidFill>
                <a:latin typeface="Trebuchet MS" panose="020B0603020202020204" pitchFamily="34" charset="0"/>
              </a:rPr>
              <a:t>Click to edit Master title style</a:t>
            </a:r>
            <a:endParaRPr lang="en-US" sz="2800" dirty="0">
              <a:solidFill>
                <a:srgbClr val="A0CD39"/>
              </a:solidFill>
              <a:latin typeface="Trebuchet MS" panose="020B0603020202020204" pitchFamily="34" charset="0"/>
            </a:endParaRPr>
          </a:p>
        </p:txBody>
      </p:sp>
    </p:spTree>
    <p:extLst>
      <p:ext uri="{BB962C8B-B14F-4D97-AF65-F5344CB8AC3E}">
        <p14:creationId xmlns:p14="http://schemas.microsoft.com/office/powerpoint/2010/main" val="3298532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xt with Line 2">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92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7" name="Date Placeholder 3"/>
          <p:cNvSpPr>
            <a:spLocks noGrp="1"/>
          </p:cNvSpPr>
          <p:nvPr userDrawn="1">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rgbClr val="FFFFFF"/>
                </a:solidFill>
                <a:latin typeface="+mn-lt"/>
                <a:sym typeface="Trebuchet MS" panose="020B0603020202020204" pitchFamily="34" charset="0"/>
              </a:defRPr>
            </a:lvl1pPr>
          </a:lstStyle>
          <a:p>
            <a:endParaRPr lang="en-US" dirty="0"/>
          </a:p>
        </p:txBody>
      </p:sp>
      <p:sp>
        <p:nvSpPr>
          <p:cNvPr id="18" name="TextBox 1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p:nvPr>
        </p:nvSpPr>
        <p:spPr>
          <a:xfrm>
            <a:off x="630000" y="2271594"/>
            <a:ext cx="4068845" cy="470898"/>
          </a:xfrm>
        </p:spPr>
        <p:txBody>
          <a:bodyPr/>
          <a:lstStyle>
            <a:lvl1pPr>
              <a:defRPr sz="3400">
                <a:solidFill>
                  <a:srgbClr val="FFFFFF"/>
                </a:solidFill>
              </a:defRPr>
            </a:lvl1pPr>
          </a:lstStyle>
          <a:p>
            <a:r>
              <a:rPr lang="en-US">
                <a:solidFill>
                  <a:srgbClr val="FFFFFF"/>
                </a:solidFill>
              </a:rPr>
              <a:t>Click to edit Master title style</a:t>
            </a:r>
            <a:endParaRPr lang="en-US" dirty="0">
              <a:solidFill>
                <a:srgbClr val="FFFFFF"/>
              </a:solidFill>
            </a:endParaRPr>
          </a:p>
        </p:txBody>
      </p:sp>
      <p:cxnSp>
        <p:nvCxnSpPr>
          <p:cNvPr id="11" name="Straight Connector 10"/>
          <p:cNvCxnSpPr/>
          <p:nvPr userDrawn="1"/>
        </p:nvCxnSpPr>
        <p:spPr>
          <a:xfrm>
            <a:off x="4698845" y="0"/>
            <a:ext cx="0" cy="4486275"/>
          </a:xfrm>
          <a:prstGeom prst="line">
            <a:avLst/>
          </a:prstGeom>
          <a:ln w="9525" cap="rnd" cmpd="sng" algn="ctr">
            <a:solidFill>
              <a:srgbClr val="FFFFFF">
                <a:alpha val="50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56433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wo third">
    <p:bg bwMode="grayWhite">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950"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3" name="TextBox 12"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8" name="Title 4"/>
          <p:cNvSpPr>
            <a:spLocks noGrp="1"/>
          </p:cNvSpPr>
          <p:nvPr>
            <p:ph type="title" hasCustomPrompt="1"/>
          </p:nvPr>
        </p:nvSpPr>
        <p:spPr>
          <a:xfrm>
            <a:off x="630000" y="622800"/>
            <a:ext cx="6675675"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326352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with Image 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114913E7-F4A9-467A-8CEB-F87E8D5085BA}"/>
              </a:ext>
            </a:extLst>
          </p:cNvPr>
          <p:cNvSpPr/>
          <p:nvPr userDrawn="1">
            <p:custDataLst>
              <p:tags r:id="rId2"/>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974" name="think-cell Slide" r:id="rId7" imgW="352" imgH="355" progId="TCLayout.ActiveDocument.1">
                  <p:embed/>
                </p:oleObj>
              </mc:Choice>
              <mc:Fallback>
                <p:oleObj name="think-cell Slide" r:id="rId7" imgW="352" imgH="355"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p:cNvPicPr>
            <a:picLocks noChangeAspect="1"/>
          </p:cNvPicPr>
          <p:nvPr userDrawn="1"/>
        </p:nvPicPr>
        <p:blipFill rotWithShape="1">
          <a:blip r:embed="rId9" cstate="screen">
            <a:extLst>
              <a:ext uri="{28A0092B-C50C-407E-A947-70E740481C1C}">
                <a14:useLocalDpi xmlns:a14="http://schemas.microsoft.com/office/drawing/2010/main"/>
              </a:ext>
            </a:extLst>
          </a:blip>
          <a:srcRect b="15715"/>
          <a:stretch/>
        </p:blipFill>
        <p:spPr>
          <a:xfrm>
            <a:off x="0" y="-24504"/>
            <a:ext cx="12248607" cy="6882504"/>
          </a:xfrm>
          <a:prstGeom prst="rect">
            <a:avLst/>
          </a:prstGeom>
        </p:spPr>
      </p:pic>
      <p:sp>
        <p:nvSpPr>
          <p:cNvPr id="12" name="Overlay"/>
          <p:cNvSpPr/>
          <p:nvPr userDrawn="1">
            <p:custDataLst>
              <p:tags r:id="rId5"/>
            </p:custDataLst>
          </p:nvPr>
        </p:nvSpPr>
        <p:spPr>
          <a:xfrm>
            <a:off x="0" y="-24504"/>
            <a:ext cx="12248607" cy="6882504"/>
          </a:xfrm>
          <a:prstGeom prst="rect">
            <a:avLst/>
          </a:prstGeom>
          <a:solidFill>
            <a:srgbClr val="000000">
              <a:alpha val="60000"/>
            </a:srgb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accent3">
                  <a:lumMod val="60000"/>
                  <a:lumOff val="40000"/>
                </a:schemeClr>
              </a:solidFill>
            </a:endParaRPr>
          </a:p>
        </p:txBody>
      </p:sp>
      <p:sp>
        <p:nvSpPr>
          <p:cNvPr id="57" name="Date Placeholder 56"/>
          <p:cNvSpPr>
            <a:spLocks noGrp="1"/>
          </p:cNvSpPr>
          <p:nvPr>
            <p:ph type="dt" sz="half" idx="14"/>
          </p:nvPr>
        </p:nvSpPr>
        <p:spPr/>
        <p:txBody>
          <a:bodyPr/>
          <a:lstStyle>
            <a:lvl1pPr>
              <a:defRPr>
                <a:solidFill>
                  <a:srgbClr val="FFFFFF"/>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b="1">
                <a:solidFill>
                  <a:srgbClr val="FFFFFF"/>
                </a:solidFill>
                <a:latin typeface="+mj-lt"/>
                <a:sym typeface="Trebuchet MS" panose="020B0603020202020204" pitchFamily="34" charset="0"/>
              </a:defRPr>
            </a:lvl1pPr>
          </a:lstStyle>
          <a:p>
            <a:r>
              <a:rPr lang="en-US" dirty="0"/>
              <a:t>Click to add title</a:t>
            </a:r>
          </a:p>
        </p:txBody>
      </p:sp>
      <p:sp>
        <p:nvSpPr>
          <p:cNvPr id="13" name="TextBox 12"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82494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998"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hidden="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972418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02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b="1">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06168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2C2C2C"/>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59D1FCB6-64FC-4EDA-8F83-052ABF4CAD77}"/>
              </a:ext>
            </a:extLst>
          </p:cNvPr>
          <p:cNvSpPr/>
          <p:nvPr userDrawn="1">
            <p:custDataLst>
              <p:tags r:id="rId3"/>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3" name="Object 2"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046" name="think-cell Slide" r:id="rId7" imgW="352" imgH="355" progId="TCLayout.ActiveDocument.1">
                  <p:embed/>
                </p:oleObj>
              </mc:Choice>
              <mc:Fallback>
                <p:oleObj name="think-cell Slide" r:id="rId7" imgW="352" imgH="355"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b="1">
                <a:solidFill>
                  <a:srgbClr val="435264"/>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512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2C2C2C"/>
        </a:solidFill>
        <a:effectLst/>
      </p:bgPr>
    </p:bg>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63D4420E-DF99-49C3-81EA-15DCCD1CDFF5}"/>
              </a:ext>
            </a:extLst>
          </p:cNvPr>
          <p:cNvSpPr/>
          <p:nvPr userDrawn="1">
            <p:custDataLst>
              <p:tags r:id="rId3"/>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3" name="Object 2"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070" name="think-cell Slide" r:id="rId7" imgW="352" imgH="355" progId="TCLayout.ActiveDocument.1">
                  <p:embed/>
                </p:oleObj>
              </mc:Choice>
              <mc:Fallback>
                <p:oleObj name="think-cell Slide" r:id="rId7" imgW="352" imgH="355"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435264"/>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618728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5094"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b="1">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56147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1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b="1">
                <a:solidFill>
                  <a:schemeClr val="bg1"/>
                </a:solidFill>
                <a:latin typeface="+mj-lt"/>
                <a:sym typeface="Trebuchet MS" panose="020B0603020202020204" pitchFamily="34" charset="0"/>
              </a:defRPr>
            </a:lvl1pPr>
          </a:lstStyle>
          <a:p>
            <a:r>
              <a:rPr lang="en-US" dirty="0"/>
              <a:t>Click to add title</a:t>
            </a:r>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84235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14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b="1">
                <a:solidFill>
                  <a:schemeClr val="bg1"/>
                </a:solidFill>
                <a:latin typeface="+mj-lt"/>
                <a:sym typeface="Trebuchet MS" panose="020B0603020202020204" pitchFamily="34" charset="0"/>
              </a:defRPr>
            </a:lvl1pPr>
          </a:lstStyle>
          <a:p>
            <a:r>
              <a:rPr lang="en-US" dirty="0"/>
              <a:t>Click to edit title</a:t>
            </a:r>
          </a:p>
        </p:txBody>
      </p:sp>
      <p:sp>
        <p:nvSpPr>
          <p:cNvPr id="13" name="TextBox 12"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6064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166"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5" name="Rectangle 24"/>
          <p:cNvSpPr/>
          <p:nvPr userDrawn="1"/>
        </p:nvSpPr>
        <p:spPr>
          <a:xfrm>
            <a:off x="0" y="0"/>
            <a:ext cx="12192000" cy="6858000"/>
          </a:xfrm>
          <a:prstGeom prst="rect">
            <a:avLst/>
          </a:prstGeom>
          <a:blipFill>
            <a:blip r:embed="rId8">
              <a:alphaModFix amt="10000"/>
            </a:blip>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30" name="Group 29"/>
          <p:cNvGrpSpPr/>
          <p:nvPr userDrawn="1"/>
        </p:nvGrpSpPr>
        <p:grpSpPr>
          <a:xfrm>
            <a:off x="1524" y="1310"/>
            <a:ext cx="4104210" cy="6858000"/>
            <a:chOff x="152400" y="152400"/>
            <a:chExt cx="4104210" cy="6858000"/>
          </a:xfrm>
        </p:grpSpPr>
        <p:sp>
          <p:nvSpPr>
            <p:cNvPr id="26" name="Freeform 25"/>
            <p:cNvSpPr/>
            <p:nvPr userDrawn="1"/>
          </p:nvSpPr>
          <p:spPr bwMode="ltGray">
            <a:xfrm>
              <a:off x="152400" y="152400"/>
              <a:ext cx="3805920" cy="6858000"/>
            </a:xfrm>
            <a:custGeom>
              <a:avLst/>
              <a:gdLst>
                <a:gd name="connsiteX0" fmla="*/ 0 w 3805920"/>
                <a:gd name="connsiteY0" fmla="*/ 0 h 6858000"/>
                <a:gd name="connsiteX1" fmla="*/ 3264933 w 3805920"/>
                <a:gd name="connsiteY1" fmla="*/ 0 h 6858000"/>
                <a:gd name="connsiteX2" fmla="*/ 3805920 w 3805920"/>
                <a:gd name="connsiteY2" fmla="*/ 2252964 h 6858000"/>
                <a:gd name="connsiteX3" fmla="*/ 1710900 w 3805920"/>
                <a:gd name="connsiteY3" fmla="*/ 6858000 h 6858000"/>
                <a:gd name="connsiteX4" fmla="*/ 0 w 3805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920" h="6858000">
                  <a:moveTo>
                    <a:pt x="0" y="0"/>
                  </a:moveTo>
                  <a:lnTo>
                    <a:pt x="3264933" y="0"/>
                  </a:lnTo>
                  <a:lnTo>
                    <a:pt x="3805920" y="2252964"/>
                  </a:lnTo>
                  <a:lnTo>
                    <a:pt x="1710900"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27" name="Group 26"/>
            <p:cNvGrpSpPr/>
            <p:nvPr userDrawn="1"/>
          </p:nvGrpSpPr>
          <p:grpSpPr>
            <a:xfrm>
              <a:off x="1745005" y="152400"/>
              <a:ext cx="2511605" cy="6858000"/>
              <a:chOff x="1705620" y="0"/>
              <a:chExt cx="2511605" cy="6858000"/>
            </a:xfrm>
          </p:grpSpPr>
          <p:sp>
            <p:nvSpPr>
              <p:cNvPr id="28" name="Freeform 27"/>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 name="Parallelogram 28"/>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7" name="Group 6" hidden="1"/>
          <p:cNvGrpSpPr/>
          <p:nvPr userDrawn="1"/>
        </p:nvGrpSpPr>
        <p:grpSpPr>
          <a:xfrm>
            <a:off x="0" y="0"/>
            <a:ext cx="4104210" cy="6858000"/>
            <a:chOff x="0" y="0"/>
            <a:chExt cx="4104210" cy="6858000"/>
          </a:xfrm>
        </p:grpSpPr>
        <p:sp>
          <p:nvSpPr>
            <p:cNvPr id="15" name="Freeform 14"/>
            <p:cNvSpPr/>
            <p:nvPr userDrawn="1"/>
          </p:nvSpPr>
          <p:spPr bwMode="ltGray">
            <a:xfrm>
              <a:off x="0" y="0"/>
              <a:ext cx="3805920" cy="6858000"/>
            </a:xfrm>
            <a:custGeom>
              <a:avLst/>
              <a:gdLst>
                <a:gd name="connsiteX0" fmla="*/ 0 w 3805920"/>
                <a:gd name="connsiteY0" fmla="*/ 0 h 6858000"/>
                <a:gd name="connsiteX1" fmla="*/ 3264933 w 3805920"/>
                <a:gd name="connsiteY1" fmla="*/ 0 h 6858000"/>
                <a:gd name="connsiteX2" fmla="*/ 3805920 w 3805920"/>
                <a:gd name="connsiteY2" fmla="*/ 2252964 h 6858000"/>
                <a:gd name="connsiteX3" fmla="*/ 1710900 w 3805920"/>
                <a:gd name="connsiteY3" fmla="*/ 6858000 h 6858000"/>
                <a:gd name="connsiteX4" fmla="*/ 0 w 3805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920" h="6858000">
                  <a:moveTo>
                    <a:pt x="0" y="0"/>
                  </a:moveTo>
                  <a:lnTo>
                    <a:pt x="3264933" y="0"/>
                  </a:lnTo>
                  <a:lnTo>
                    <a:pt x="3805920" y="2252964"/>
                  </a:lnTo>
                  <a:lnTo>
                    <a:pt x="1710900" y="6858000"/>
                  </a:lnTo>
                  <a:lnTo>
                    <a:pt x="0" y="6858000"/>
                  </a:lnTo>
                  <a:close/>
                </a:path>
              </a:pathLst>
            </a:cu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6" name="Group 5"/>
            <p:cNvGrpSpPr/>
            <p:nvPr userDrawn="1"/>
          </p:nvGrpSpPr>
          <p:grpSpPr>
            <a:xfrm>
              <a:off x="0" y="0"/>
              <a:ext cx="4104210" cy="6858000"/>
              <a:chOff x="0" y="0"/>
              <a:chExt cx="4104210" cy="6858000"/>
            </a:xfrm>
          </p:grpSpPr>
          <p:sp>
            <p:nvSpPr>
              <p:cNvPr id="18" name="Freeform 17"/>
              <p:cNvSpPr/>
              <p:nvPr userDrawn="1"/>
            </p:nvSpPr>
            <p:spPr bwMode="ltGray">
              <a:xfrm>
                <a:off x="0" y="0"/>
                <a:ext cx="3805920" cy="6858000"/>
              </a:xfrm>
              <a:custGeom>
                <a:avLst/>
                <a:gdLst>
                  <a:gd name="connsiteX0" fmla="*/ 0 w 3805920"/>
                  <a:gd name="connsiteY0" fmla="*/ 0 h 6858000"/>
                  <a:gd name="connsiteX1" fmla="*/ 3264933 w 3805920"/>
                  <a:gd name="connsiteY1" fmla="*/ 0 h 6858000"/>
                  <a:gd name="connsiteX2" fmla="*/ 3805920 w 3805920"/>
                  <a:gd name="connsiteY2" fmla="*/ 2252964 h 6858000"/>
                  <a:gd name="connsiteX3" fmla="*/ 1710900 w 3805920"/>
                  <a:gd name="connsiteY3" fmla="*/ 6858000 h 6858000"/>
                  <a:gd name="connsiteX4" fmla="*/ 0 w 3805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920" h="6858000">
                    <a:moveTo>
                      <a:pt x="0" y="0"/>
                    </a:moveTo>
                    <a:lnTo>
                      <a:pt x="3264933" y="0"/>
                    </a:lnTo>
                    <a:lnTo>
                      <a:pt x="3805920" y="2252964"/>
                    </a:lnTo>
                    <a:lnTo>
                      <a:pt x="1710900" y="6858000"/>
                    </a:lnTo>
                    <a:lnTo>
                      <a:pt x="0" y="6858000"/>
                    </a:lnTo>
                    <a:close/>
                  </a:path>
                </a:pathLst>
              </a:custGeom>
              <a:blipFill dpi="0" rotWithShape="1">
                <a:blip r:embed="rId9">
                  <a:alphaModFix amt="10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20" name="Group 19"/>
              <p:cNvGrpSpPr/>
              <p:nvPr userDrawn="1"/>
            </p:nvGrpSpPr>
            <p:grpSpPr>
              <a:xfrm>
                <a:off x="1592605" y="0"/>
                <a:ext cx="2511605" cy="6858000"/>
                <a:chOff x="1705620" y="0"/>
                <a:chExt cx="2511605" cy="6858000"/>
              </a:xfrm>
            </p:grpSpPr>
            <p:sp>
              <p:nvSpPr>
                <p:cNvPr id="21" name="Freeform 20"/>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 name="Parallelogram 21"/>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gr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1" baseline="0">
                <a:solidFill>
                  <a:srgbClr val="435264"/>
                </a:solidFill>
                <a:latin typeface="+mj-lt"/>
                <a:sym typeface="Trebuchet MS" panose="020B0603020202020204" pitchFamily="34" charset="0"/>
              </a:defRPr>
            </a:lvl1pPr>
          </a:lstStyle>
          <a:p>
            <a:r>
              <a:rPr lang="en-US" dirty="0">
                <a:solidFill>
                  <a:schemeClr val="tx2"/>
                </a:solidFill>
              </a:rPr>
              <a:t>Click to add title</a:t>
            </a:r>
          </a:p>
        </p:txBody>
      </p:sp>
    </p:spTree>
    <p:extLst>
      <p:ext uri="{BB962C8B-B14F-4D97-AF65-F5344CB8AC3E}">
        <p14:creationId xmlns:p14="http://schemas.microsoft.com/office/powerpoint/2010/main" val="3288037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19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hidden="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4" name="Freeform 23"/>
          <p:cNvSpPr/>
          <p:nvPr/>
        </p:nvSpPr>
        <p:spPr bwMode="ltGray">
          <a:xfrm>
            <a:off x="0" y="0"/>
            <a:ext cx="3805920" cy="6858000"/>
          </a:xfrm>
          <a:custGeom>
            <a:avLst/>
            <a:gdLst>
              <a:gd name="connsiteX0" fmla="*/ 0 w 3805920"/>
              <a:gd name="connsiteY0" fmla="*/ 0 h 6858000"/>
              <a:gd name="connsiteX1" fmla="*/ 3264933 w 3805920"/>
              <a:gd name="connsiteY1" fmla="*/ 0 h 6858000"/>
              <a:gd name="connsiteX2" fmla="*/ 3805920 w 3805920"/>
              <a:gd name="connsiteY2" fmla="*/ 2252964 h 6858000"/>
              <a:gd name="connsiteX3" fmla="*/ 1710900 w 3805920"/>
              <a:gd name="connsiteY3" fmla="*/ 6858000 h 6858000"/>
              <a:gd name="connsiteX4" fmla="*/ 0 w 3805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920" h="6858000">
                <a:moveTo>
                  <a:pt x="0" y="0"/>
                </a:moveTo>
                <a:lnTo>
                  <a:pt x="3264933" y="0"/>
                </a:lnTo>
                <a:lnTo>
                  <a:pt x="3805920" y="2252964"/>
                </a:lnTo>
                <a:lnTo>
                  <a:pt x="1710900" y="6858000"/>
                </a:lnTo>
                <a:lnTo>
                  <a:pt x="0" y="6858000"/>
                </a:lnTo>
                <a:close/>
              </a:path>
            </a:pathLst>
          </a:cu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sp>
        <p:nvSpPr>
          <p:cNvPr id="27" name="Freeform 26"/>
          <p:cNvSpPr/>
          <p:nvPr/>
        </p:nvSpPr>
        <p:spPr bwMode="ltGray">
          <a:xfrm>
            <a:off x="0" y="0"/>
            <a:ext cx="3805920" cy="6858000"/>
          </a:xfrm>
          <a:custGeom>
            <a:avLst/>
            <a:gdLst>
              <a:gd name="connsiteX0" fmla="*/ 0 w 3805920"/>
              <a:gd name="connsiteY0" fmla="*/ 0 h 6858000"/>
              <a:gd name="connsiteX1" fmla="*/ 3264933 w 3805920"/>
              <a:gd name="connsiteY1" fmla="*/ 0 h 6858000"/>
              <a:gd name="connsiteX2" fmla="*/ 3805920 w 3805920"/>
              <a:gd name="connsiteY2" fmla="*/ 2252964 h 6858000"/>
              <a:gd name="connsiteX3" fmla="*/ 1710900 w 3805920"/>
              <a:gd name="connsiteY3" fmla="*/ 6858000 h 6858000"/>
              <a:gd name="connsiteX4" fmla="*/ 0 w 3805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920" h="6858000">
                <a:moveTo>
                  <a:pt x="0" y="0"/>
                </a:moveTo>
                <a:lnTo>
                  <a:pt x="3264933" y="0"/>
                </a:lnTo>
                <a:lnTo>
                  <a:pt x="3805920" y="2252964"/>
                </a:lnTo>
                <a:lnTo>
                  <a:pt x="1710900" y="6858000"/>
                </a:lnTo>
                <a:lnTo>
                  <a:pt x="0" y="6858000"/>
                </a:lnTo>
                <a:close/>
              </a:path>
            </a:pathLst>
          </a:custGeom>
          <a:blipFill dpi="0" rotWithShape="1">
            <a:blip r:embed="rId7">
              <a:alphaModFix amt="10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0" name="Group 9"/>
          <p:cNvGrpSpPr/>
          <p:nvPr userDrawn="1"/>
        </p:nvGrpSpPr>
        <p:grpSpPr>
          <a:xfrm>
            <a:off x="1592605" y="0"/>
            <a:ext cx="2511605" cy="6858000"/>
            <a:chOff x="1705620" y="0"/>
            <a:chExt cx="2511605" cy="6858000"/>
          </a:xfrm>
        </p:grpSpPr>
        <p:sp>
          <p:nvSpPr>
            <p:cNvPr id="23" name="Freeform 22"/>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 name="Parallelogram 21"/>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3" name="Title 2"/>
          <p:cNvSpPr>
            <a:spLocks noGrp="1"/>
          </p:cNvSpPr>
          <p:nvPr userDrawn="1">
            <p:ph type="title" hasCustomPrompt="1"/>
          </p:nvPr>
        </p:nvSpPr>
        <p:spPr>
          <a:xfrm>
            <a:off x="630000" y="2764203"/>
            <a:ext cx="2478638" cy="1314311"/>
          </a:xfrm>
        </p:spPr>
        <p:txBody>
          <a:bodyPr anchor="ctr" anchorCtr="0">
            <a:noAutofit/>
          </a:bodyPr>
          <a:lstStyle>
            <a:lvl1pPr>
              <a:defRPr sz="3200" b="1" baseline="0">
                <a:solidFill>
                  <a:srgbClr val="FFFFFF"/>
                </a:solidFill>
                <a:latin typeface="+mj-lt"/>
              </a:defRPr>
            </a:lvl1pPr>
          </a:lstStyle>
          <a:p>
            <a:r>
              <a:rPr lang="en-US" dirty="0"/>
              <a:t>Click to add title</a:t>
            </a:r>
          </a:p>
        </p:txBody>
      </p:sp>
    </p:spTree>
    <p:extLst>
      <p:ext uri="{BB962C8B-B14F-4D97-AF65-F5344CB8AC3E}">
        <p14:creationId xmlns:p14="http://schemas.microsoft.com/office/powerpoint/2010/main" val="3142483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14"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Rectangle 6"/>
          <p:cNvSpPr/>
          <p:nvPr userDrawn="1"/>
        </p:nvSpPr>
        <p:spPr>
          <a:xfrm>
            <a:off x="0" y="0"/>
            <a:ext cx="12192000" cy="6858000"/>
          </a:xfrm>
          <a:prstGeom prst="rect">
            <a:avLst/>
          </a:prstGeom>
          <a:blipFill>
            <a:blip r:embed="rId8">
              <a:alphaModFix amt="10000"/>
            </a:blip>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TextBox 4" hidden="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grpSp>
        <p:nvGrpSpPr>
          <p:cNvPr id="6" name="Group 5"/>
          <p:cNvGrpSpPr/>
          <p:nvPr userDrawn="1"/>
        </p:nvGrpSpPr>
        <p:grpSpPr>
          <a:xfrm>
            <a:off x="0" y="0"/>
            <a:ext cx="5809832" cy="6858000"/>
            <a:chOff x="0" y="0"/>
            <a:chExt cx="5809832" cy="6858000"/>
          </a:xfrm>
        </p:grpSpPr>
        <p:sp>
          <p:nvSpPr>
            <p:cNvPr id="24" name="Freeform 23"/>
            <p:cNvSpPr/>
            <p:nvPr userDrawn="1"/>
          </p:nvSpPr>
          <p:spPr bwMode="ltGray">
            <a:xfrm>
              <a:off x="0" y="0"/>
              <a:ext cx="5511542" cy="6858000"/>
            </a:xfrm>
            <a:custGeom>
              <a:avLst/>
              <a:gdLst>
                <a:gd name="connsiteX0" fmla="*/ 0 w 5511542"/>
                <a:gd name="connsiteY0" fmla="*/ 0 h 6858000"/>
                <a:gd name="connsiteX1" fmla="*/ 1705622 w 5511542"/>
                <a:gd name="connsiteY1" fmla="*/ 0 h 6858000"/>
                <a:gd name="connsiteX2" fmla="*/ 2019300 w 5511542"/>
                <a:gd name="connsiteY2" fmla="*/ 0 h 6858000"/>
                <a:gd name="connsiteX3" fmla="*/ 4970555 w 5511542"/>
                <a:gd name="connsiteY3" fmla="*/ 0 h 6858000"/>
                <a:gd name="connsiteX4" fmla="*/ 5511542 w 5511542"/>
                <a:gd name="connsiteY4" fmla="*/ 2252964 h 6858000"/>
                <a:gd name="connsiteX5" fmla="*/ 3416522 w 5511542"/>
                <a:gd name="connsiteY5" fmla="*/ 6858000 h 6858000"/>
                <a:gd name="connsiteX6" fmla="*/ 2019300 w 5511542"/>
                <a:gd name="connsiteY6" fmla="*/ 6858000 h 6858000"/>
                <a:gd name="connsiteX7" fmla="*/ 1705622 w 5511542"/>
                <a:gd name="connsiteY7" fmla="*/ 6858000 h 6858000"/>
                <a:gd name="connsiteX8" fmla="*/ 0 w 5511542"/>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11542" h="6858000">
                  <a:moveTo>
                    <a:pt x="0" y="0"/>
                  </a:moveTo>
                  <a:lnTo>
                    <a:pt x="1705622" y="0"/>
                  </a:lnTo>
                  <a:lnTo>
                    <a:pt x="2019300" y="0"/>
                  </a:lnTo>
                  <a:lnTo>
                    <a:pt x="4970555" y="0"/>
                  </a:lnTo>
                  <a:lnTo>
                    <a:pt x="5511542" y="2252964"/>
                  </a:lnTo>
                  <a:lnTo>
                    <a:pt x="3416522" y="6858000"/>
                  </a:lnTo>
                  <a:lnTo>
                    <a:pt x="2019300" y="6858000"/>
                  </a:lnTo>
                  <a:lnTo>
                    <a:pt x="1705622"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21" name="Group 20"/>
            <p:cNvGrpSpPr/>
            <p:nvPr userDrawn="1"/>
          </p:nvGrpSpPr>
          <p:grpSpPr>
            <a:xfrm>
              <a:off x="3298227" y="0"/>
              <a:ext cx="2511605" cy="6858000"/>
              <a:chOff x="1705620" y="0"/>
              <a:chExt cx="2511605" cy="6858000"/>
            </a:xfrm>
          </p:grpSpPr>
          <p:sp>
            <p:nvSpPr>
              <p:cNvPr id="22" name="Freeform 21"/>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Parallelogram 22"/>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435264"/>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20203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23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grpSp>
        <p:nvGrpSpPr>
          <p:cNvPr id="7" name="Group 6"/>
          <p:cNvGrpSpPr/>
          <p:nvPr userDrawn="1"/>
        </p:nvGrpSpPr>
        <p:grpSpPr>
          <a:xfrm>
            <a:off x="0" y="0"/>
            <a:ext cx="5809832" cy="6858000"/>
            <a:chOff x="0" y="0"/>
            <a:chExt cx="5809832" cy="6858000"/>
          </a:xfrm>
        </p:grpSpPr>
        <p:sp>
          <p:nvSpPr>
            <p:cNvPr id="15" name="Freeform 14"/>
            <p:cNvSpPr/>
            <p:nvPr userDrawn="1"/>
          </p:nvSpPr>
          <p:spPr bwMode="ltGray">
            <a:xfrm>
              <a:off x="0" y="0"/>
              <a:ext cx="5511542" cy="6858000"/>
            </a:xfrm>
            <a:custGeom>
              <a:avLst/>
              <a:gdLst>
                <a:gd name="connsiteX0" fmla="*/ 0 w 5511542"/>
                <a:gd name="connsiteY0" fmla="*/ 0 h 6858000"/>
                <a:gd name="connsiteX1" fmla="*/ 1705622 w 5511542"/>
                <a:gd name="connsiteY1" fmla="*/ 0 h 6858000"/>
                <a:gd name="connsiteX2" fmla="*/ 2019300 w 5511542"/>
                <a:gd name="connsiteY2" fmla="*/ 0 h 6858000"/>
                <a:gd name="connsiteX3" fmla="*/ 4970555 w 5511542"/>
                <a:gd name="connsiteY3" fmla="*/ 0 h 6858000"/>
                <a:gd name="connsiteX4" fmla="*/ 5511542 w 5511542"/>
                <a:gd name="connsiteY4" fmla="*/ 2252964 h 6858000"/>
                <a:gd name="connsiteX5" fmla="*/ 3416522 w 5511542"/>
                <a:gd name="connsiteY5" fmla="*/ 6858000 h 6858000"/>
                <a:gd name="connsiteX6" fmla="*/ 2019300 w 5511542"/>
                <a:gd name="connsiteY6" fmla="*/ 6858000 h 6858000"/>
                <a:gd name="connsiteX7" fmla="*/ 1705622 w 5511542"/>
                <a:gd name="connsiteY7" fmla="*/ 6858000 h 6858000"/>
                <a:gd name="connsiteX8" fmla="*/ 0 w 5511542"/>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11542" h="6858000">
                  <a:moveTo>
                    <a:pt x="0" y="0"/>
                  </a:moveTo>
                  <a:lnTo>
                    <a:pt x="1705622" y="0"/>
                  </a:lnTo>
                  <a:lnTo>
                    <a:pt x="2019300" y="0"/>
                  </a:lnTo>
                  <a:lnTo>
                    <a:pt x="4970555" y="0"/>
                  </a:lnTo>
                  <a:lnTo>
                    <a:pt x="5511542" y="2252964"/>
                  </a:lnTo>
                  <a:lnTo>
                    <a:pt x="3416522" y="6858000"/>
                  </a:lnTo>
                  <a:lnTo>
                    <a:pt x="2019300" y="6858000"/>
                  </a:lnTo>
                  <a:lnTo>
                    <a:pt x="1705622" y="6858000"/>
                  </a:lnTo>
                  <a:lnTo>
                    <a:pt x="0" y="6858000"/>
                  </a:lnTo>
                  <a:close/>
                </a:path>
              </a:pathLst>
            </a:cu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sp>
          <p:nvSpPr>
            <p:cNvPr id="24" name="Freeform 23"/>
            <p:cNvSpPr/>
            <p:nvPr userDrawn="1"/>
          </p:nvSpPr>
          <p:spPr bwMode="ltGray">
            <a:xfrm>
              <a:off x="0" y="0"/>
              <a:ext cx="5511542" cy="6858000"/>
            </a:xfrm>
            <a:custGeom>
              <a:avLst/>
              <a:gdLst>
                <a:gd name="connsiteX0" fmla="*/ 0 w 5511542"/>
                <a:gd name="connsiteY0" fmla="*/ 0 h 6858000"/>
                <a:gd name="connsiteX1" fmla="*/ 1705622 w 5511542"/>
                <a:gd name="connsiteY1" fmla="*/ 0 h 6858000"/>
                <a:gd name="connsiteX2" fmla="*/ 2019300 w 5511542"/>
                <a:gd name="connsiteY2" fmla="*/ 0 h 6858000"/>
                <a:gd name="connsiteX3" fmla="*/ 4970555 w 5511542"/>
                <a:gd name="connsiteY3" fmla="*/ 0 h 6858000"/>
                <a:gd name="connsiteX4" fmla="*/ 5511542 w 5511542"/>
                <a:gd name="connsiteY4" fmla="*/ 2252964 h 6858000"/>
                <a:gd name="connsiteX5" fmla="*/ 3416522 w 5511542"/>
                <a:gd name="connsiteY5" fmla="*/ 6858000 h 6858000"/>
                <a:gd name="connsiteX6" fmla="*/ 2019300 w 5511542"/>
                <a:gd name="connsiteY6" fmla="*/ 6858000 h 6858000"/>
                <a:gd name="connsiteX7" fmla="*/ 1705622 w 5511542"/>
                <a:gd name="connsiteY7" fmla="*/ 6858000 h 6858000"/>
                <a:gd name="connsiteX8" fmla="*/ 0 w 5511542"/>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11542" h="6858000">
                  <a:moveTo>
                    <a:pt x="0" y="0"/>
                  </a:moveTo>
                  <a:lnTo>
                    <a:pt x="1705622" y="0"/>
                  </a:lnTo>
                  <a:lnTo>
                    <a:pt x="2019300" y="0"/>
                  </a:lnTo>
                  <a:lnTo>
                    <a:pt x="4970555" y="0"/>
                  </a:lnTo>
                  <a:lnTo>
                    <a:pt x="5511542" y="2252964"/>
                  </a:lnTo>
                  <a:lnTo>
                    <a:pt x="3416522" y="6858000"/>
                  </a:lnTo>
                  <a:lnTo>
                    <a:pt x="2019300" y="6858000"/>
                  </a:lnTo>
                  <a:lnTo>
                    <a:pt x="1705622" y="6858000"/>
                  </a:lnTo>
                  <a:lnTo>
                    <a:pt x="0" y="6858000"/>
                  </a:lnTo>
                  <a:close/>
                </a:path>
              </a:pathLst>
            </a:custGeom>
            <a:blipFill>
              <a:blip r:embed="rId7">
                <a:alphaModFix amt="10000"/>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9" name="Group 18"/>
            <p:cNvGrpSpPr/>
            <p:nvPr userDrawn="1"/>
          </p:nvGrpSpPr>
          <p:grpSpPr>
            <a:xfrm>
              <a:off x="3298227" y="0"/>
              <a:ext cx="2511605" cy="6858000"/>
              <a:chOff x="1705620" y="0"/>
              <a:chExt cx="2511605" cy="6858000"/>
            </a:xfrm>
          </p:grpSpPr>
          <p:sp>
            <p:nvSpPr>
              <p:cNvPr id="20" name="Freeform 19"/>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Parallelogram 20"/>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sp>
        <p:nvSpPr>
          <p:cNvPr id="14" name="Title 1"/>
          <p:cNvSpPr>
            <a:spLocks noGrp="1"/>
          </p:cNvSpPr>
          <p:nvPr userDrawn="1">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userDrawn="1">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13908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2C2C2C"/>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01D04988-C1C8-44FC-A7AF-538F5286C2CC}"/>
              </a:ext>
            </a:extLst>
          </p:cNvPr>
          <p:cNvSpPr/>
          <p:nvPr userDrawn="1">
            <p:custDataLst>
              <p:tags r:id="rId3"/>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3" name="Object 2"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262" name="think-cell Slide" r:id="rId7" imgW="352" imgH="355" progId="TCLayout.ActiveDocument.1">
                  <p:embed/>
                </p:oleObj>
              </mc:Choice>
              <mc:Fallback>
                <p:oleObj name="think-cell Slide" r:id="rId7" imgW="352" imgH="355"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Rectangle 3"/>
          <p:cNvSpPr/>
          <p:nvPr userDrawn="1"/>
        </p:nvSpPr>
        <p:spPr>
          <a:xfrm>
            <a:off x="0" y="0"/>
            <a:ext cx="12192000" cy="6858000"/>
          </a:xfrm>
          <a:prstGeom prst="rect">
            <a:avLst/>
          </a:prstGeom>
          <a:blipFill>
            <a:blip r:embed="rId9">
              <a:alphaModFix amt="10000"/>
            </a:blip>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 name="Group 5"/>
          <p:cNvGrpSpPr/>
          <p:nvPr userDrawn="1"/>
        </p:nvGrpSpPr>
        <p:grpSpPr>
          <a:xfrm>
            <a:off x="0" y="0"/>
            <a:ext cx="6712446" cy="6858000"/>
            <a:chOff x="0" y="0"/>
            <a:chExt cx="6712446" cy="6858000"/>
          </a:xfrm>
        </p:grpSpPr>
        <p:sp>
          <p:nvSpPr>
            <p:cNvPr id="20" name="Freeform 19"/>
            <p:cNvSpPr/>
            <p:nvPr userDrawn="1"/>
          </p:nvSpPr>
          <p:spPr bwMode="ltGray">
            <a:xfrm>
              <a:off x="0" y="0"/>
              <a:ext cx="6414156" cy="6858000"/>
            </a:xfrm>
            <a:custGeom>
              <a:avLst/>
              <a:gdLst>
                <a:gd name="connsiteX0" fmla="*/ 0 w 6414156"/>
                <a:gd name="connsiteY0" fmla="*/ 0 h 6858000"/>
                <a:gd name="connsiteX1" fmla="*/ 902614 w 6414156"/>
                <a:gd name="connsiteY1" fmla="*/ 0 h 6858000"/>
                <a:gd name="connsiteX2" fmla="*/ 1447800 w 6414156"/>
                <a:gd name="connsiteY2" fmla="*/ 0 h 6858000"/>
                <a:gd name="connsiteX3" fmla="*/ 2608236 w 6414156"/>
                <a:gd name="connsiteY3" fmla="*/ 0 h 6858000"/>
                <a:gd name="connsiteX4" fmla="*/ 2921914 w 6414156"/>
                <a:gd name="connsiteY4" fmla="*/ 0 h 6858000"/>
                <a:gd name="connsiteX5" fmla="*/ 5873169 w 6414156"/>
                <a:gd name="connsiteY5" fmla="*/ 0 h 6858000"/>
                <a:gd name="connsiteX6" fmla="*/ 6414156 w 6414156"/>
                <a:gd name="connsiteY6" fmla="*/ 2252964 h 6858000"/>
                <a:gd name="connsiteX7" fmla="*/ 4319136 w 6414156"/>
                <a:gd name="connsiteY7" fmla="*/ 6858000 h 6858000"/>
                <a:gd name="connsiteX8" fmla="*/ 2921914 w 6414156"/>
                <a:gd name="connsiteY8" fmla="*/ 6858000 h 6858000"/>
                <a:gd name="connsiteX9" fmla="*/ 2608236 w 6414156"/>
                <a:gd name="connsiteY9" fmla="*/ 6858000 h 6858000"/>
                <a:gd name="connsiteX10" fmla="*/ 1447800 w 6414156"/>
                <a:gd name="connsiteY10" fmla="*/ 6858000 h 6858000"/>
                <a:gd name="connsiteX11" fmla="*/ 902614 w 6414156"/>
                <a:gd name="connsiteY11" fmla="*/ 6858000 h 6858000"/>
                <a:gd name="connsiteX12" fmla="*/ 0 w 641415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4156" h="6858000">
                  <a:moveTo>
                    <a:pt x="0" y="0"/>
                  </a:moveTo>
                  <a:lnTo>
                    <a:pt x="902614" y="0"/>
                  </a:lnTo>
                  <a:lnTo>
                    <a:pt x="1447800" y="0"/>
                  </a:lnTo>
                  <a:lnTo>
                    <a:pt x="2608236" y="0"/>
                  </a:lnTo>
                  <a:lnTo>
                    <a:pt x="2921914" y="0"/>
                  </a:lnTo>
                  <a:lnTo>
                    <a:pt x="5873169" y="0"/>
                  </a:lnTo>
                  <a:lnTo>
                    <a:pt x="6414156" y="2252964"/>
                  </a:lnTo>
                  <a:lnTo>
                    <a:pt x="4319136" y="6858000"/>
                  </a:lnTo>
                  <a:lnTo>
                    <a:pt x="2921914" y="6858000"/>
                  </a:lnTo>
                  <a:lnTo>
                    <a:pt x="2608236" y="6858000"/>
                  </a:lnTo>
                  <a:lnTo>
                    <a:pt x="1447800" y="6858000"/>
                  </a:lnTo>
                  <a:lnTo>
                    <a:pt x="902614"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3" name="Group 12"/>
            <p:cNvGrpSpPr/>
            <p:nvPr userDrawn="1"/>
          </p:nvGrpSpPr>
          <p:grpSpPr>
            <a:xfrm>
              <a:off x="4200841" y="0"/>
              <a:ext cx="2511605" cy="6858000"/>
              <a:chOff x="1705620" y="0"/>
              <a:chExt cx="2511605" cy="6858000"/>
            </a:xfrm>
          </p:grpSpPr>
          <p:sp>
            <p:nvSpPr>
              <p:cNvPr id="17" name="Freeform 16"/>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 name="Parallelogram 18"/>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435264"/>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9342764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28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 name="Freeform 14"/>
          <p:cNvSpPr/>
          <p:nvPr userDrawn="1"/>
        </p:nvSpPr>
        <p:spPr bwMode="ltGray">
          <a:xfrm>
            <a:off x="0" y="0"/>
            <a:ext cx="6414156" cy="6858000"/>
          </a:xfrm>
          <a:custGeom>
            <a:avLst/>
            <a:gdLst>
              <a:gd name="connsiteX0" fmla="*/ 0 w 6414156"/>
              <a:gd name="connsiteY0" fmla="*/ 0 h 6858000"/>
              <a:gd name="connsiteX1" fmla="*/ 902614 w 6414156"/>
              <a:gd name="connsiteY1" fmla="*/ 0 h 6858000"/>
              <a:gd name="connsiteX2" fmla="*/ 1447800 w 6414156"/>
              <a:gd name="connsiteY2" fmla="*/ 0 h 6858000"/>
              <a:gd name="connsiteX3" fmla="*/ 2608236 w 6414156"/>
              <a:gd name="connsiteY3" fmla="*/ 0 h 6858000"/>
              <a:gd name="connsiteX4" fmla="*/ 2921914 w 6414156"/>
              <a:gd name="connsiteY4" fmla="*/ 0 h 6858000"/>
              <a:gd name="connsiteX5" fmla="*/ 5873169 w 6414156"/>
              <a:gd name="connsiteY5" fmla="*/ 0 h 6858000"/>
              <a:gd name="connsiteX6" fmla="*/ 6414156 w 6414156"/>
              <a:gd name="connsiteY6" fmla="*/ 2252964 h 6858000"/>
              <a:gd name="connsiteX7" fmla="*/ 4319136 w 6414156"/>
              <a:gd name="connsiteY7" fmla="*/ 6858000 h 6858000"/>
              <a:gd name="connsiteX8" fmla="*/ 2921914 w 6414156"/>
              <a:gd name="connsiteY8" fmla="*/ 6858000 h 6858000"/>
              <a:gd name="connsiteX9" fmla="*/ 2608236 w 6414156"/>
              <a:gd name="connsiteY9" fmla="*/ 6858000 h 6858000"/>
              <a:gd name="connsiteX10" fmla="*/ 1447800 w 6414156"/>
              <a:gd name="connsiteY10" fmla="*/ 6858000 h 6858000"/>
              <a:gd name="connsiteX11" fmla="*/ 902614 w 6414156"/>
              <a:gd name="connsiteY11" fmla="*/ 6858000 h 6858000"/>
              <a:gd name="connsiteX12" fmla="*/ 0 w 641415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4156" h="6858000">
                <a:moveTo>
                  <a:pt x="0" y="0"/>
                </a:moveTo>
                <a:lnTo>
                  <a:pt x="902614" y="0"/>
                </a:lnTo>
                <a:lnTo>
                  <a:pt x="1447800" y="0"/>
                </a:lnTo>
                <a:lnTo>
                  <a:pt x="2608236" y="0"/>
                </a:lnTo>
                <a:lnTo>
                  <a:pt x="2921914" y="0"/>
                </a:lnTo>
                <a:lnTo>
                  <a:pt x="5873169" y="0"/>
                </a:lnTo>
                <a:lnTo>
                  <a:pt x="6414156" y="2252964"/>
                </a:lnTo>
                <a:lnTo>
                  <a:pt x="4319136" y="6858000"/>
                </a:lnTo>
                <a:lnTo>
                  <a:pt x="2921914" y="6858000"/>
                </a:lnTo>
                <a:lnTo>
                  <a:pt x="2608236" y="6858000"/>
                </a:lnTo>
                <a:lnTo>
                  <a:pt x="1447800" y="6858000"/>
                </a:lnTo>
                <a:lnTo>
                  <a:pt x="902614" y="6858000"/>
                </a:lnTo>
                <a:lnTo>
                  <a:pt x="0" y="6858000"/>
                </a:lnTo>
                <a:close/>
              </a:path>
            </a:pathLst>
          </a:cu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sp>
        <p:nvSpPr>
          <p:cNvPr id="24" name="Freeform 23"/>
          <p:cNvSpPr/>
          <p:nvPr userDrawn="1"/>
        </p:nvSpPr>
        <p:spPr bwMode="ltGray">
          <a:xfrm>
            <a:off x="0" y="0"/>
            <a:ext cx="6414156" cy="6858000"/>
          </a:xfrm>
          <a:custGeom>
            <a:avLst/>
            <a:gdLst>
              <a:gd name="connsiteX0" fmla="*/ 0 w 6414156"/>
              <a:gd name="connsiteY0" fmla="*/ 0 h 6858000"/>
              <a:gd name="connsiteX1" fmla="*/ 902614 w 6414156"/>
              <a:gd name="connsiteY1" fmla="*/ 0 h 6858000"/>
              <a:gd name="connsiteX2" fmla="*/ 1447800 w 6414156"/>
              <a:gd name="connsiteY2" fmla="*/ 0 h 6858000"/>
              <a:gd name="connsiteX3" fmla="*/ 2608236 w 6414156"/>
              <a:gd name="connsiteY3" fmla="*/ 0 h 6858000"/>
              <a:gd name="connsiteX4" fmla="*/ 2921914 w 6414156"/>
              <a:gd name="connsiteY4" fmla="*/ 0 h 6858000"/>
              <a:gd name="connsiteX5" fmla="*/ 5873169 w 6414156"/>
              <a:gd name="connsiteY5" fmla="*/ 0 h 6858000"/>
              <a:gd name="connsiteX6" fmla="*/ 6414156 w 6414156"/>
              <a:gd name="connsiteY6" fmla="*/ 2252964 h 6858000"/>
              <a:gd name="connsiteX7" fmla="*/ 4319136 w 6414156"/>
              <a:gd name="connsiteY7" fmla="*/ 6858000 h 6858000"/>
              <a:gd name="connsiteX8" fmla="*/ 2921914 w 6414156"/>
              <a:gd name="connsiteY8" fmla="*/ 6858000 h 6858000"/>
              <a:gd name="connsiteX9" fmla="*/ 2608236 w 6414156"/>
              <a:gd name="connsiteY9" fmla="*/ 6858000 h 6858000"/>
              <a:gd name="connsiteX10" fmla="*/ 1447800 w 6414156"/>
              <a:gd name="connsiteY10" fmla="*/ 6858000 h 6858000"/>
              <a:gd name="connsiteX11" fmla="*/ 902614 w 6414156"/>
              <a:gd name="connsiteY11" fmla="*/ 6858000 h 6858000"/>
              <a:gd name="connsiteX12" fmla="*/ 0 w 6414156"/>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4156" h="6858000">
                <a:moveTo>
                  <a:pt x="0" y="0"/>
                </a:moveTo>
                <a:lnTo>
                  <a:pt x="902614" y="0"/>
                </a:lnTo>
                <a:lnTo>
                  <a:pt x="1447800" y="0"/>
                </a:lnTo>
                <a:lnTo>
                  <a:pt x="2608236" y="0"/>
                </a:lnTo>
                <a:lnTo>
                  <a:pt x="2921914" y="0"/>
                </a:lnTo>
                <a:lnTo>
                  <a:pt x="5873169" y="0"/>
                </a:lnTo>
                <a:lnTo>
                  <a:pt x="6414156" y="2252964"/>
                </a:lnTo>
                <a:lnTo>
                  <a:pt x="4319136" y="6858000"/>
                </a:lnTo>
                <a:lnTo>
                  <a:pt x="2921914" y="6858000"/>
                </a:lnTo>
                <a:lnTo>
                  <a:pt x="2608236" y="6858000"/>
                </a:lnTo>
                <a:lnTo>
                  <a:pt x="1447800" y="6858000"/>
                </a:lnTo>
                <a:lnTo>
                  <a:pt x="902614" y="6858000"/>
                </a:lnTo>
                <a:lnTo>
                  <a:pt x="0" y="6858000"/>
                </a:lnTo>
                <a:close/>
              </a:path>
            </a:pathLst>
          </a:custGeom>
          <a:blipFill>
            <a:blip r:embed="rId7">
              <a:alphaModFix amt="10000"/>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7" name="Group 16"/>
          <p:cNvGrpSpPr/>
          <p:nvPr userDrawn="1"/>
        </p:nvGrpSpPr>
        <p:grpSpPr>
          <a:xfrm>
            <a:off x="4200841" y="0"/>
            <a:ext cx="2511605" cy="6858000"/>
            <a:chOff x="1705620" y="0"/>
            <a:chExt cx="2511605" cy="6858000"/>
          </a:xfrm>
        </p:grpSpPr>
        <p:sp>
          <p:nvSpPr>
            <p:cNvPr id="18" name="Freeform 17"/>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Parallelogram 20"/>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16" name="Title 2"/>
          <p:cNvSpPr>
            <a:spLocks noGrp="1"/>
          </p:cNvSpPr>
          <p:nvPr userDrawn="1">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userDrawn="1">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12997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2C2C2C"/>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1FD39E01-602E-43F4-86FE-BACF446F2DE9}"/>
              </a:ext>
            </a:extLst>
          </p:cNvPr>
          <p:cNvSpPr/>
          <p:nvPr userDrawn="1">
            <p:custDataLst>
              <p:tags r:id="rId3"/>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3" name="Object 2"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310" name="think-cell Slide" r:id="rId7" imgW="352" imgH="355" progId="TCLayout.ActiveDocument.1">
                  <p:embed/>
                </p:oleObj>
              </mc:Choice>
              <mc:Fallback>
                <p:oleObj name="think-cell Slide" r:id="rId7" imgW="352" imgH="355"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2" name="Rectangle 21"/>
          <p:cNvSpPr/>
          <p:nvPr userDrawn="1"/>
        </p:nvSpPr>
        <p:spPr>
          <a:xfrm>
            <a:off x="0" y="0"/>
            <a:ext cx="12192000" cy="6858000"/>
          </a:xfrm>
          <a:prstGeom prst="rect">
            <a:avLst/>
          </a:prstGeom>
          <a:blipFill>
            <a:blip r:embed="rId9">
              <a:alphaModFix amt="10000"/>
            </a:blip>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 name="Group 5"/>
          <p:cNvGrpSpPr/>
          <p:nvPr userDrawn="1"/>
        </p:nvGrpSpPr>
        <p:grpSpPr>
          <a:xfrm>
            <a:off x="0" y="0"/>
            <a:ext cx="8807032" cy="6858000"/>
            <a:chOff x="0" y="0"/>
            <a:chExt cx="8807032" cy="6858000"/>
          </a:xfrm>
        </p:grpSpPr>
        <p:sp>
          <p:nvSpPr>
            <p:cNvPr id="21" name="Freeform 20"/>
            <p:cNvSpPr/>
            <p:nvPr userDrawn="1"/>
          </p:nvSpPr>
          <p:spPr bwMode="ltGray">
            <a:xfrm>
              <a:off x="0" y="0"/>
              <a:ext cx="8508742" cy="6858000"/>
            </a:xfrm>
            <a:custGeom>
              <a:avLst/>
              <a:gdLst>
                <a:gd name="connsiteX0" fmla="*/ 0 w 8508742"/>
                <a:gd name="connsiteY0" fmla="*/ 0 h 6858000"/>
                <a:gd name="connsiteX1" fmla="*/ 2997200 w 8508742"/>
                <a:gd name="connsiteY1" fmla="*/ 0 h 6858000"/>
                <a:gd name="connsiteX2" fmla="*/ 3543300 w 8508742"/>
                <a:gd name="connsiteY2" fmla="*/ 0 h 6858000"/>
                <a:gd name="connsiteX3" fmla="*/ 4702822 w 8508742"/>
                <a:gd name="connsiteY3" fmla="*/ 0 h 6858000"/>
                <a:gd name="connsiteX4" fmla="*/ 5016500 w 8508742"/>
                <a:gd name="connsiteY4" fmla="*/ 0 h 6858000"/>
                <a:gd name="connsiteX5" fmla="*/ 7967755 w 8508742"/>
                <a:gd name="connsiteY5" fmla="*/ 0 h 6858000"/>
                <a:gd name="connsiteX6" fmla="*/ 8508742 w 8508742"/>
                <a:gd name="connsiteY6" fmla="*/ 2252964 h 6858000"/>
                <a:gd name="connsiteX7" fmla="*/ 6413722 w 8508742"/>
                <a:gd name="connsiteY7" fmla="*/ 6858000 h 6858000"/>
                <a:gd name="connsiteX8" fmla="*/ 5016500 w 8508742"/>
                <a:gd name="connsiteY8" fmla="*/ 6858000 h 6858000"/>
                <a:gd name="connsiteX9" fmla="*/ 4702822 w 8508742"/>
                <a:gd name="connsiteY9" fmla="*/ 6858000 h 6858000"/>
                <a:gd name="connsiteX10" fmla="*/ 3543300 w 8508742"/>
                <a:gd name="connsiteY10" fmla="*/ 6858000 h 6858000"/>
                <a:gd name="connsiteX11" fmla="*/ 2997200 w 8508742"/>
                <a:gd name="connsiteY11" fmla="*/ 6858000 h 6858000"/>
                <a:gd name="connsiteX12" fmla="*/ 0 w 8508742"/>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8742" h="6858000">
                  <a:moveTo>
                    <a:pt x="0" y="0"/>
                  </a:moveTo>
                  <a:lnTo>
                    <a:pt x="2997200" y="0"/>
                  </a:lnTo>
                  <a:lnTo>
                    <a:pt x="3543300" y="0"/>
                  </a:lnTo>
                  <a:lnTo>
                    <a:pt x="4702822" y="0"/>
                  </a:lnTo>
                  <a:lnTo>
                    <a:pt x="5016500" y="0"/>
                  </a:lnTo>
                  <a:lnTo>
                    <a:pt x="7967755" y="0"/>
                  </a:lnTo>
                  <a:lnTo>
                    <a:pt x="8508742" y="2252964"/>
                  </a:lnTo>
                  <a:lnTo>
                    <a:pt x="6413722" y="6858000"/>
                  </a:lnTo>
                  <a:lnTo>
                    <a:pt x="5016500" y="6858000"/>
                  </a:lnTo>
                  <a:lnTo>
                    <a:pt x="4702822" y="6858000"/>
                  </a:lnTo>
                  <a:lnTo>
                    <a:pt x="3543300" y="6858000"/>
                  </a:lnTo>
                  <a:lnTo>
                    <a:pt x="2997200"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8" name="Group 17"/>
            <p:cNvGrpSpPr/>
            <p:nvPr userDrawn="1"/>
          </p:nvGrpSpPr>
          <p:grpSpPr>
            <a:xfrm>
              <a:off x="6295427" y="0"/>
              <a:ext cx="2511605" cy="6858000"/>
              <a:chOff x="1705620" y="0"/>
              <a:chExt cx="2511605" cy="6858000"/>
            </a:xfrm>
          </p:grpSpPr>
          <p:sp>
            <p:nvSpPr>
              <p:cNvPr id="19" name="Freeform 18"/>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 name="Parallelogram 19"/>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435264"/>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933979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33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grpSp>
        <p:nvGrpSpPr>
          <p:cNvPr id="6" name="Group 5"/>
          <p:cNvGrpSpPr/>
          <p:nvPr userDrawn="1"/>
        </p:nvGrpSpPr>
        <p:grpSpPr>
          <a:xfrm>
            <a:off x="0" y="0"/>
            <a:ext cx="8807032" cy="6858000"/>
            <a:chOff x="0" y="0"/>
            <a:chExt cx="8807032" cy="6858000"/>
          </a:xfrm>
        </p:grpSpPr>
        <p:sp>
          <p:nvSpPr>
            <p:cNvPr id="14" name="Freeform 13"/>
            <p:cNvSpPr/>
            <p:nvPr userDrawn="1"/>
          </p:nvSpPr>
          <p:spPr bwMode="ltGray">
            <a:xfrm>
              <a:off x="0" y="0"/>
              <a:ext cx="8508742" cy="6858000"/>
            </a:xfrm>
            <a:custGeom>
              <a:avLst/>
              <a:gdLst>
                <a:gd name="connsiteX0" fmla="*/ 0 w 8508742"/>
                <a:gd name="connsiteY0" fmla="*/ 0 h 6858000"/>
                <a:gd name="connsiteX1" fmla="*/ 2997200 w 8508742"/>
                <a:gd name="connsiteY1" fmla="*/ 0 h 6858000"/>
                <a:gd name="connsiteX2" fmla="*/ 3543300 w 8508742"/>
                <a:gd name="connsiteY2" fmla="*/ 0 h 6858000"/>
                <a:gd name="connsiteX3" fmla="*/ 4702822 w 8508742"/>
                <a:gd name="connsiteY3" fmla="*/ 0 h 6858000"/>
                <a:gd name="connsiteX4" fmla="*/ 5016500 w 8508742"/>
                <a:gd name="connsiteY4" fmla="*/ 0 h 6858000"/>
                <a:gd name="connsiteX5" fmla="*/ 7967755 w 8508742"/>
                <a:gd name="connsiteY5" fmla="*/ 0 h 6858000"/>
                <a:gd name="connsiteX6" fmla="*/ 8508742 w 8508742"/>
                <a:gd name="connsiteY6" fmla="*/ 2252964 h 6858000"/>
                <a:gd name="connsiteX7" fmla="*/ 6413722 w 8508742"/>
                <a:gd name="connsiteY7" fmla="*/ 6858000 h 6858000"/>
                <a:gd name="connsiteX8" fmla="*/ 5016500 w 8508742"/>
                <a:gd name="connsiteY8" fmla="*/ 6858000 h 6858000"/>
                <a:gd name="connsiteX9" fmla="*/ 4702822 w 8508742"/>
                <a:gd name="connsiteY9" fmla="*/ 6858000 h 6858000"/>
                <a:gd name="connsiteX10" fmla="*/ 3543300 w 8508742"/>
                <a:gd name="connsiteY10" fmla="*/ 6858000 h 6858000"/>
                <a:gd name="connsiteX11" fmla="*/ 2997200 w 8508742"/>
                <a:gd name="connsiteY11" fmla="*/ 6858000 h 6858000"/>
                <a:gd name="connsiteX12" fmla="*/ 0 w 8508742"/>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8742" h="6858000">
                  <a:moveTo>
                    <a:pt x="0" y="0"/>
                  </a:moveTo>
                  <a:lnTo>
                    <a:pt x="2997200" y="0"/>
                  </a:lnTo>
                  <a:lnTo>
                    <a:pt x="3543300" y="0"/>
                  </a:lnTo>
                  <a:lnTo>
                    <a:pt x="4702822" y="0"/>
                  </a:lnTo>
                  <a:lnTo>
                    <a:pt x="5016500" y="0"/>
                  </a:lnTo>
                  <a:lnTo>
                    <a:pt x="7967755" y="0"/>
                  </a:lnTo>
                  <a:lnTo>
                    <a:pt x="8508742" y="2252964"/>
                  </a:lnTo>
                  <a:lnTo>
                    <a:pt x="6413722" y="6858000"/>
                  </a:lnTo>
                  <a:lnTo>
                    <a:pt x="5016500" y="6858000"/>
                  </a:lnTo>
                  <a:lnTo>
                    <a:pt x="4702822" y="6858000"/>
                  </a:lnTo>
                  <a:lnTo>
                    <a:pt x="3543300" y="6858000"/>
                  </a:lnTo>
                  <a:lnTo>
                    <a:pt x="2997200" y="6858000"/>
                  </a:lnTo>
                  <a:lnTo>
                    <a:pt x="0" y="6858000"/>
                  </a:lnTo>
                  <a:close/>
                </a:path>
              </a:pathLst>
            </a:cu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sp>
          <p:nvSpPr>
            <p:cNvPr id="25" name="Freeform 24"/>
            <p:cNvSpPr/>
            <p:nvPr userDrawn="1"/>
          </p:nvSpPr>
          <p:spPr bwMode="ltGray">
            <a:xfrm>
              <a:off x="0" y="0"/>
              <a:ext cx="8508742" cy="6858000"/>
            </a:xfrm>
            <a:custGeom>
              <a:avLst/>
              <a:gdLst>
                <a:gd name="connsiteX0" fmla="*/ 0 w 8508742"/>
                <a:gd name="connsiteY0" fmla="*/ 0 h 6858000"/>
                <a:gd name="connsiteX1" fmla="*/ 2997200 w 8508742"/>
                <a:gd name="connsiteY1" fmla="*/ 0 h 6858000"/>
                <a:gd name="connsiteX2" fmla="*/ 3543300 w 8508742"/>
                <a:gd name="connsiteY2" fmla="*/ 0 h 6858000"/>
                <a:gd name="connsiteX3" fmla="*/ 4702822 w 8508742"/>
                <a:gd name="connsiteY3" fmla="*/ 0 h 6858000"/>
                <a:gd name="connsiteX4" fmla="*/ 5016500 w 8508742"/>
                <a:gd name="connsiteY4" fmla="*/ 0 h 6858000"/>
                <a:gd name="connsiteX5" fmla="*/ 7967755 w 8508742"/>
                <a:gd name="connsiteY5" fmla="*/ 0 h 6858000"/>
                <a:gd name="connsiteX6" fmla="*/ 8508742 w 8508742"/>
                <a:gd name="connsiteY6" fmla="*/ 2252964 h 6858000"/>
                <a:gd name="connsiteX7" fmla="*/ 6413722 w 8508742"/>
                <a:gd name="connsiteY7" fmla="*/ 6858000 h 6858000"/>
                <a:gd name="connsiteX8" fmla="*/ 5016500 w 8508742"/>
                <a:gd name="connsiteY8" fmla="*/ 6858000 h 6858000"/>
                <a:gd name="connsiteX9" fmla="*/ 4702822 w 8508742"/>
                <a:gd name="connsiteY9" fmla="*/ 6858000 h 6858000"/>
                <a:gd name="connsiteX10" fmla="*/ 3543300 w 8508742"/>
                <a:gd name="connsiteY10" fmla="*/ 6858000 h 6858000"/>
                <a:gd name="connsiteX11" fmla="*/ 2997200 w 8508742"/>
                <a:gd name="connsiteY11" fmla="*/ 6858000 h 6858000"/>
                <a:gd name="connsiteX12" fmla="*/ 0 w 8508742"/>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8742" h="6858000">
                  <a:moveTo>
                    <a:pt x="0" y="0"/>
                  </a:moveTo>
                  <a:lnTo>
                    <a:pt x="2997200" y="0"/>
                  </a:lnTo>
                  <a:lnTo>
                    <a:pt x="3543300" y="0"/>
                  </a:lnTo>
                  <a:lnTo>
                    <a:pt x="4702822" y="0"/>
                  </a:lnTo>
                  <a:lnTo>
                    <a:pt x="5016500" y="0"/>
                  </a:lnTo>
                  <a:lnTo>
                    <a:pt x="7967755" y="0"/>
                  </a:lnTo>
                  <a:lnTo>
                    <a:pt x="8508742" y="2252964"/>
                  </a:lnTo>
                  <a:lnTo>
                    <a:pt x="6413722" y="6858000"/>
                  </a:lnTo>
                  <a:lnTo>
                    <a:pt x="5016500" y="6858000"/>
                  </a:lnTo>
                  <a:lnTo>
                    <a:pt x="4702822" y="6858000"/>
                  </a:lnTo>
                  <a:lnTo>
                    <a:pt x="3543300" y="6858000"/>
                  </a:lnTo>
                  <a:lnTo>
                    <a:pt x="2997200" y="6858000"/>
                  </a:lnTo>
                  <a:lnTo>
                    <a:pt x="0" y="6858000"/>
                  </a:lnTo>
                  <a:close/>
                </a:path>
              </a:pathLst>
            </a:custGeom>
            <a:blipFill>
              <a:blip r:embed="rId7">
                <a:alphaModFix amt="10000"/>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Trebuchet MS" panose="020B0603020202020204" pitchFamily="34" charset="0"/>
              </a:endParaRPr>
            </a:p>
          </p:txBody>
        </p:sp>
        <p:grpSp>
          <p:nvGrpSpPr>
            <p:cNvPr id="15" name="Group 14"/>
            <p:cNvGrpSpPr/>
            <p:nvPr userDrawn="1"/>
          </p:nvGrpSpPr>
          <p:grpSpPr>
            <a:xfrm>
              <a:off x="6295427" y="0"/>
              <a:ext cx="2511605" cy="6858000"/>
              <a:chOff x="1705620" y="0"/>
              <a:chExt cx="2511605" cy="6858000"/>
            </a:xfrm>
          </p:grpSpPr>
          <p:sp>
            <p:nvSpPr>
              <p:cNvPr id="16" name="Freeform 15"/>
              <p:cNvSpPr/>
              <p:nvPr/>
            </p:nvSpPr>
            <p:spPr>
              <a:xfrm flipH="1">
                <a:off x="1705620" y="2240754"/>
                <a:ext cx="2509226" cy="4617246"/>
              </a:xfrm>
              <a:custGeom>
                <a:avLst/>
                <a:gdLst>
                  <a:gd name="connsiteX0" fmla="*/ 0 w 2459420"/>
                  <a:gd name="connsiteY0" fmla="*/ 0 h 4656083"/>
                  <a:gd name="connsiteX1" fmla="*/ 1313793 w 2459420"/>
                  <a:gd name="connsiteY1" fmla="*/ 4656083 h 4656083"/>
                  <a:gd name="connsiteX2" fmla="*/ 2459420 w 2459420"/>
                  <a:gd name="connsiteY2" fmla="*/ 4656083 h 4656083"/>
                  <a:gd name="connsiteX3" fmla="*/ 409903 w 2459420"/>
                  <a:gd name="connsiteY3" fmla="*/ 10510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295603 w 2459420"/>
                  <a:gd name="connsiteY3" fmla="*/ 109798 h 4656083"/>
                  <a:gd name="connsiteX4" fmla="*/ 0 w 2459420"/>
                  <a:gd name="connsiteY4" fmla="*/ 0 h 4656083"/>
                  <a:gd name="connsiteX0" fmla="*/ 0 w 2459420"/>
                  <a:gd name="connsiteY0" fmla="*/ 0 h 4656083"/>
                  <a:gd name="connsiteX1" fmla="*/ 1313793 w 2459420"/>
                  <a:gd name="connsiteY1" fmla="*/ 4656083 h 4656083"/>
                  <a:gd name="connsiteX2" fmla="*/ 2459420 w 2459420"/>
                  <a:gd name="connsiteY2" fmla="*/ 4656083 h 4656083"/>
                  <a:gd name="connsiteX3" fmla="*/ 364183 w 2459420"/>
                  <a:gd name="connsiteY3" fmla="*/ 33423 h 4656083"/>
                  <a:gd name="connsiteX4" fmla="*/ 0 w 2459420"/>
                  <a:gd name="connsiteY4" fmla="*/ 0 h 4656083"/>
                  <a:gd name="connsiteX0" fmla="*/ 0 w 2444180"/>
                  <a:gd name="connsiteY0" fmla="*/ 12402 h 4622660"/>
                  <a:gd name="connsiteX1" fmla="*/ 1298553 w 2444180"/>
                  <a:gd name="connsiteY1" fmla="*/ 4622660 h 4622660"/>
                  <a:gd name="connsiteX2" fmla="*/ 2444180 w 2444180"/>
                  <a:gd name="connsiteY2" fmla="*/ 4622660 h 4622660"/>
                  <a:gd name="connsiteX3" fmla="*/ 348943 w 2444180"/>
                  <a:gd name="connsiteY3" fmla="*/ 0 h 4622660"/>
                  <a:gd name="connsiteX4" fmla="*/ 0 w 2444180"/>
                  <a:gd name="connsiteY4" fmla="*/ 12402 h 4622660"/>
                  <a:gd name="connsiteX0" fmla="*/ 0 w 2448942"/>
                  <a:gd name="connsiteY0" fmla="*/ 7629 h 4622660"/>
                  <a:gd name="connsiteX1" fmla="*/ 1303315 w 2448942"/>
                  <a:gd name="connsiteY1" fmla="*/ 4622660 h 4622660"/>
                  <a:gd name="connsiteX2" fmla="*/ 2448942 w 2448942"/>
                  <a:gd name="connsiteY2" fmla="*/ 4622660 h 4622660"/>
                  <a:gd name="connsiteX3" fmla="*/ 353705 w 2448942"/>
                  <a:gd name="connsiteY3" fmla="*/ 0 h 4622660"/>
                  <a:gd name="connsiteX4" fmla="*/ 0 w 2448942"/>
                  <a:gd name="connsiteY4" fmla="*/ 7629 h 4622660"/>
                  <a:gd name="connsiteX0" fmla="*/ 0 w 2453705"/>
                  <a:gd name="connsiteY0" fmla="*/ 2857 h 4622660"/>
                  <a:gd name="connsiteX1" fmla="*/ 1308078 w 2453705"/>
                  <a:gd name="connsiteY1" fmla="*/ 4622660 h 4622660"/>
                  <a:gd name="connsiteX2" fmla="*/ 2453705 w 2453705"/>
                  <a:gd name="connsiteY2" fmla="*/ 4622660 h 4622660"/>
                  <a:gd name="connsiteX3" fmla="*/ 358468 w 2453705"/>
                  <a:gd name="connsiteY3" fmla="*/ 0 h 4622660"/>
                  <a:gd name="connsiteX4" fmla="*/ 0 w 2453705"/>
                  <a:gd name="connsiteY4" fmla="*/ 2857 h 4622660"/>
                  <a:gd name="connsiteX0" fmla="*/ 0 w 2458468"/>
                  <a:gd name="connsiteY0" fmla="*/ 12403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12403 h 4622660"/>
                  <a:gd name="connsiteX0" fmla="*/ 0 w 2458468"/>
                  <a:gd name="connsiteY0" fmla="*/ 7631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7631 h 4622660"/>
                  <a:gd name="connsiteX0" fmla="*/ 0 w 2458468"/>
                  <a:gd name="connsiteY0" fmla="*/ 2857 h 4622660"/>
                  <a:gd name="connsiteX1" fmla="*/ 1312841 w 2458468"/>
                  <a:gd name="connsiteY1" fmla="*/ 4622660 h 4622660"/>
                  <a:gd name="connsiteX2" fmla="*/ 2458468 w 2458468"/>
                  <a:gd name="connsiteY2" fmla="*/ 4622660 h 4622660"/>
                  <a:gd name="connsiteX3" fmla="*/ 363231 w 2458468"/>
                  <a:gd name="connsiteY3" fmla="*/ 0 h 4622660"/>
                  <a:gd name="connsiteX4" fmla="*/ 0 w 2458468"/>
                  <a:gd name="connsiteY4" fmla="*/ 2857 h 4622660"/>
                  <a:gd name="connsiteX0" fmla="*/ 0 w 2501331"/>
                  <a:gd name="connsiteY0" fmla="*/ 0 h 4624577"/>
                  <a:gd name="connsiteX1" fmla="*/ 1355704 w 2501331"/>
                  <a:gd name="connsiteY1" fmla="*/ 4624577 h 4624577"/>
                  <a:gd name="connsiteX2" fmla="*/ 2501331 w 2501331"/>
                  <a:gd name="connsiteY2" fmla="*/ 4624577 h 4624577"/>
                  <a:gd name="connsiteX3" fmla="*/ 406094 w 2501331"/>
                  <a:gd name="connsiteY3" fmla="*/ 1917 h 4624577"/>
                  <a:gd name="connsiteX4" fmla="*/ 0 w 2501331"/>
                  <a:gd name="connsiteY4" fmla="*/ 0 h 4624577"/>
                  <a:gd name="connsiteX0" fmla="*/ 0 w 2515618"/>
                  <a:gd name="connsiteY0" fmla="*/ 7638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7638 h 4622660"/>
                  <a:gd name="connsiteX0" fmla="*/ 0 w 2515618"/>
                  <a:gd name="connsiteY0" fmla="*/ 2860 h 4622660"/>
                  <a:gd name="connsiteX1" fmla="*/ 1369991 w 2515618"/>
                  <a:gd name="connsiteY1" fmla="*/ 4622660 h 4622660"/>
                  <a:gd name="connsiteX2" fmla="*/ 2515618 w 2515618"/>
                  <a:gd name="connsiteY2" fmla="*/ 4622660 h 4622660"/>
                  <a:gd name="connsiteX3" fmla="*/ 420381 w 2515618"/>
                  <a:gd name="connsiteY3" fmla="*/ 0 h 4622660"/>
                  <a:gd name="connsiteX4" fmla="*/ 0 w 2515618"/>
                  <a:gd name="connsiteY4" fmla="*/ 2860 h 4622660"/>
                  <a:gd name="connsiteX0" fmla="*/ 0 w 2515618"/>
                  <a:gd name="connsiteY0" fmla="*/ 0 h 4624577"/>
                  <a:gd name="connsiteX1" fmla="*/ 1369991 w 2515618"/>
                  <a:gd name="connsiteY1" fmla="*/ 4624577 h 4624577"/>
                  <a:gd name="connsiteX2" fmla="*/ 2515618 w 2515618"/>
                  <a:gd name="connsiteY2" fmla="*/ 4624577 h 4624577"/>
                  <a:gd name="connsiteX3" fmla="*/ 420381 w 2515618"/>
                  <a:gd name="connsiteY3" fmla="*/ 1917 h 4624577"/>
                  <a:gd name="connsiteX4" fmla="*/ 0 w 2515618"/>
                  <a:gd name="connsiteY4" fmla="*/ 0 h 4624577"/>
                  <a:gd name="connsiteX0" fmla="*/ 0 w 2515618"/>
                  <a:gd name="connsiteY0" fmla="*/ 1268 h 4625845"/>
                  <a:gd name="connsiteX1" fmla="*/ 1369991 w 2515618"/>
                  <a:gd name="connsiteY1" fmla="*/ 4625845 h 4625845"/>
                  <a:gd name="connsiteX2" fmla="*/ 2515618 w 2515618"/>
                  <a:gd name="connsiteY2" fmla="*/ 4625845 h 4625845"/>
                  <a:gd name="connsiteX3" fmla="*/ 420381 w 2515618"/>
                  <a:gd name="connsiteY3" fmla="*/ 0 h 4625845"/>
                  <a:gd name="connsiteX4" fmla="*/ 0 w 2515618"/>
                  <a:gd name="connsiteY4" fmla="*/ 1268 h 4625845"/>
                  <a:gd name="connsiteX0" fmla="*/ 0 w 2508463"/>
                  <a:gd name="connsiteY0" fmla="*/ 0 h 4626966"/>
                  <a:gd name="connsiteX1" fmla="*/ 1362836 w 2508463"/>
                  <a:gd name="connsiteY1" fmla="*/ 4626966 h 4626966"/>
                  <a:gd name="connsiteX2" fmla="*/ 2508463 w 2508463"/>
                  <a:gd name="connsiteY2" fmla="*/ 4626966 h 4626966"/>
                  <a:gd name="connsiteX3" fmla="*/ 413226 w 2508463"/>
                  <a:gd name="connsiteY3" fmla="*/ 1121 h 4626966"/>
                  <a:gd name="connsiteX4" fmla="*/ 0 w 2508463"/>
                  <a:gd name="connsiteY4" fmla="*/ 0 h 4626966"/>
                  <a:gd name="connsiteX0" fmla="*/ 0 w 2515618"/>
                  <a:gd name="connsiteY0" fmla="*/ 0 h 4631744"/>
                  <a:gd name="connsiteX1" fmla="*/ 1369991 w 2515618"/>
                  <a:gd name="connsiteY1" fmla="*/ 4631744 h 4631744"/>
                  <a:gd name="connsiteX2" fmla="*/ 2515618 w 2515618"/>
                  <a:gd name="connsiteY2" fmla="*/ 4631744 h 4631744"/>
                  <a:gd name="connsiteX3" fmla="*/ 420381 w 2515618"/>
                  <a:gd name="connsiteY3" fmla="*/ 5899 h 4631744"/>
                  <a:gd name="connsiteX4" fmla="*/ 0 w 2515618"/>
                  <a:gd name="connsiteY4" fmla="*/ 0 h 4631744"/>
                  <a:gd name="connsiteX0" fmla="*/ 0 w 2506078"/>
                  <a:gd name="connsiteY0" fmla="*/ 0 h 4631744"/>
                  <a:gd name="connsiteX1" fmla="*/ 1360451 w 2506078"/>
                  <a:gd name="connsiteY1" fmla="*/ 4631744 h 4631744"/>
                  <a:gd name="connsiteX2" fmla="*/ 2506078 w 2506078"/>
                  <a:gd name="connsiteY2" fmla="*/ 4631744 h 4631744"/>
                  <a:gd name="connsiteX3" fmla="*/ 410841 w 2506078"/>
                  <a:gd name="connsiteY3" fmla="*/ 5899 h 4631744"/>
                  <a:gd name="connsiteX4" fmla="*/ 0 w 2506078"/>
                  <a:gd name="connsiteY4" fmla="*/ 0 h 4631744"/>
                  <a:gd name="connsiteX0" fmla="*/ 0 w 2508463"/>
                  <a:gd name="connsiteY0" fmla="*/ 0 h 4631744"/>
                  <a:gd name="connsiteX1" fmla="*/ 1362836 w 2508463"/>
                  <a:gd name="connsiteY1" fmla="*/ 4631744 h 4631744"/>
                  <a:gd name="connsiteX2" fmla="*/ 2508463 w 2508463"/>
                  <a:gd name="connsiteY2" fmla="*/ 4631744 h 4631744"/>
                  <a:gd name="connsiteX3" fmla="*/ 413226 w 2508463"/>
                  <a:gd name="connsiteY3" fmla="*/ 5899 h 4631744"/>
                  <a:gd name="connsiteX4" fmla="*/ 0 w 2508463"/>
                  <a:gd name="connsiteY4" fmla="*/ 0 h 4631744"/>
                  <a:gd name="connsiteX0" fmla="*/ 0 w 2513234"/>
                  <a:gd name="connsiteY0" fmla="*/ 0 h 4629356"/>
                  <a:gd name="connsiteX1" fmla="*/ 1367607 w 2513234"/>
                  <a:gd name="connsiteY1" fmla="*/ 4629356 h 4629356"/>
                  <a:gd name="connsiteX2" fmla="*/ 2513234 w 2513234"/>
                  <a:gd name="connsiteY2" fmla="*/ 4629356 h 4629356"/>
                  <a:gd name="connsiteX3" fmla="*/ 417997 w 2513234"/>
                  <a:gd name="connsiteY3" fmla="*/ 3511 h 4629356"/>
                  <a:gd name="connsiteX4" fmla="*/ 0 w 2513234"/>
                  <a:gd name="connsiteY4" fmla="*/ 0 h 4629356"/>
                  <a:gd name="connsiteX0" fmla="*/ 0 w 2513234"/>
                  <a:gd name="connsiteY0" fmla="*/ 3655 h 4633011"/>
                  <a:gd name="connsiteX1" fmla="*/ 1367607 w 2513234"/>
                  <a:gd name="connsiteY1" fmla="*/ 4633011 h 4633011"/>
                  <a:gd name="connsiteX2" fmla="*/ 2513234 w 2513234"/>
                  <a:gd name="connsiteY2" fmla="*/ 4633011 h 4633011"/>
                  <a:gd name="connsiteX3" fmla="*/ 410841 w 2513234"/>
                  <a:gd name="connsiteY3" fmla="*/ 0 h 4633011"/>
                  <a:gd name="connsiteX4" fmla="*/ 0 w 2513234"/>
                  <a:gd name="connsiteY4" fmla="*/ 3655 h 4633011"/>
                  <a:gd name="connsiteX0" fmla="*/ 0 w 2513234"/>
                  <a:gd name="connsiteY0" fmla="*/ 1267 h 4630623"/>
                  <a:gd name="connsiteX1" fmla="*/ 1367607 w 2513234"/>
                  <a:gd name="connsiteY1" fmla="*/ 4630623 h 4630623"/>
                  <a:gd name="connsiteX2" fmla="*/ 2513234 w 2513234"/>
                  <a:gd name="connsiteY2" fmla="*/ 4630623 h 4630623"/>
                  <a:gd name="connsiteX3" fmla="*/ 417996 w 2513234"/>
                  <a:gd name="connsiteY3" fmla="*/ 0 h 4630623"/>
                  <a:gd name="connsiteX4" fmla="*/ 0 w 2513234"/>
                  <a:gd name="connsiteY4" fmla="*/ 1267 h 4630623"/>
                  <a:gd name="connsiteX0" fmla="*/ 0 w 2518005"/>
                  <a:gd name="connsiteY0" fmla="*/ 0 h 4631746"/>
                  <a:gd name="connsiteX1" fmla="*/ 1372378 w 2518005"/>
                  <a:gd name="connsiteY1" fmla="*/ 4631746 h 4631746"/>
                  <a:gd name="connsiteX2" fmla="*/ 2518005 w 2518005"/>
                  <a:gd name="connsiteY2" fmla="*/ 4631746 h 4631746"/>
                  <a:gd name="connsiteX3" fmla="*/ 422767 w 2518005"/>
                  <a:gd name="connsiteY3" fmla="*/ 1123 h 4631746"/>
                  <a:gd name="connsiteX4" fmla="*/ 0 w 2518005"/>
                  <a:gd name="connsiteY4" fmla="*/ 0 h 4631746"/>
                  <a:gd name="connsiteX0" fmla="*/ 0 w 2513235"/>
                  <a:gd name="connsiteY0" fmla="*/ 0 h 4634135"/>
                  <a:gd name="connsiteX1" fmla="*/ 1367608 w 2513235"/>
                  <a:gd name="connsiteY1" fmla="*/ 4634135 h 4634135"/>
                  <a:gd name="connsiteX2" fmla="*/ 2513235 w 2513235"/>
                  <a:gd name="connsiteY2" fmla="*/ 4634135 h 4634135"/>
                  <a:gd name="connsiteX3" fmla="*/ 417997 w 2513235"/>
                  <a:gd name="connsiteY3" fmla="*/ 3512 h 4634135"/>
                  <a:gd name="connsiteX4" fmla="*/ 0 w 2513235"/>
                  <a:gd name="connsiteY4" fmla="*/ 0 h 4634135"/>
                  <a:gd name="connsiteX0" fmla="*/ 0 w 2513235"/>
                  <a:gd name="connsiteY0" fmla="*/ 0 h 4631747"/>
                  <a:gd name="connsiteX1" fmla="*/ 1367608 w 2513235"/>
                  <a:gd name="connsiteY1" fmla="*/ 4631747 h 4631747"/>
                  <a:gd name="connsiteX2" fmla="*/ 2513235 w 2513235"/>
                  <a:gd name="connsiteY2" fmla="*/ 4631747 h 4631747"/>
                  <a:gd name="connsiteX3" fmla="*/ 417997 w 2513235"/>
                  <a:gd name="connsiteY3" fmla="*/ 1124 h 4631747"/>
                  <a:gd name="connsiteX4" fmla="*/ 0 w 2513235"/>
                  <a:gd name="connsiteY4" fmla="*/ 0 h 4631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3235" h="4631747">
                    <a:moveTo>
                      <a:pt x="0" y="0"/>
                    </a:moveTo>
                    <a:lnTo>
                      <a:pt x="1367608" y="4631747"/>
                    </a:lnTo>
                    <a:lnTo>
                      <a:pt x="2513235" y="4631747"/>
                    </a:lnTo>
                    <a:lnTo>
                      <a:pt x="417997" y="1124"/>
                    </a:lnTo>
                    <a:lnTo>
                      <a:pt x="0" y="0"/>
                    </a:lnTo>
                    <a:close/>
                  </a:path>
                </a:pathLst>
              </a:custGeom>
              <a:solidFill>
                <a:schemeClr val="bg2">
                  <a:lumMod val="2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Parallelogram 20"/>
              <p:cNvSpPr/>
              <p:nvPr/>
            </p:nvSpPr>
            <p:spPr>
              <a:xfrm flipH="1">
                <a:off x="3267075" y="0"/>
                <a:ext cx="950150" cy="2249811"/>
              </a:xfrm>
              <a:prstGeom prst="parallelogram">
                <a:avLst>
                  <a:gd name="adj" fmla="val 55618"/>
                </a:avLst>
              </a:prstGeom>
              <a:solidFill>
                <a:schemeClr val="accent5">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sp>
        <p:nvSpPr>
          <p:cNvPr id="11" name="Title 3"/>
          <p:cNvSpPr>
            <a:spLocks noGrp="1"/>
          </p:cNvSpPr>
          <p:nvPr userDrawn="1">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userDrawn="1">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48743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2C2C2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58" name="think-cell Slide" r:id="rId6" imgW="352" imgH="355" progId="TCLayout.ActiveDocument.1">
                  <p:embed/>
                </p:oleObj>
              </mc:Choice>
              <mc:Fallback>
                <p:oleObj name="think-cell Slide" r:id="rId6" imgW="352" imgH="355"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3" name="TextBox 2" hidden="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81904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38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8A9B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rgbClr val="8A9BB0"/>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49996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2C2C2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406" name="think-cell Slide" r:id="rId5" imgW="324" imgH="324" progId="TCLayout.ActiveDocument.1">
                  <p:embed/>
                </p:oleObj>
              </mc:Choice>
              <mc:Fallback>
                <p:oleObj name="think-cell Slide" r:id="rId5" imgW="324" imgH="32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435264"/>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06135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8A4DEB98-453C-448D-9FFE-1EE63065769F}"/>
              </a:ext>
            </a:extLst>
          </p:cNvPr>
          <p:cNvSpPr/>
          <p:nvPr userDrawn="1">
            <p:custDataLst>
              <p:tags r:id="rId3"/>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6" name="Object 5"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430" name="think-cell Slide" r:id="rId7" imgW="352" imgH="355" progId="TCLayout.ActiveDocument.1">
                  <p:embed/>
                </p:oleObj>
              </mc:Choice>
              <mc:Fallback>
                <p:oleObj name="think-cell Slide" r:id="rId7" imgW="352" imgH="355" progId="TCLayout.ActiveDocument.1">
                  <p:embed/>
                  <p:pic>
                    <p:nvPicPr>
                      <p:cNvPr id="6" name="Object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53584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40185FB7-30AD-4A55-B660-D8F91FB20CD2}"/>
              </a:ext>
            </a:extLst>
          </p:cNvPr>
          <p:cNvSpPr/>
          <p:nvPr userDrawn="1">
            <p:custDataLst>
              <p:tags r:id="rId1"/>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78309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2C2C2C"/>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B6B1B489-B308-4309-8A2F-092A27CE8858}"/>
              </a:ext>
            </a:extLst>
          </p:cNvPr>
          <p:cNvSpPr/>
          <p:nvPr userDrawn="1">
            <p:custDataLst>
              <p:tags r:id="rId2"/>
            </p:custDataLst>
          </p:nvPr>
        </p:nvSpPr>
        <p:spPr>
          <a:xfrm>
            <a:off x="0" y="0"/>
            <a:ext cx="12700" cy="12700"/>
          </a:xfrm>
          <a:prstGeom prst="octagon">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4352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TextBox 6" hidden="1"/>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87161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84631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50" Type="http://schemas.openxmlformats.org/officeDocument/2006/relationships/slideLayout" Target="../slideLayouts/slideLayout117.xml"/><Relationship Id="rId55" Type="http://schemas.openxmlformats.org/officeDocument/2006/relationships/slideLayout" Target="../slideLayouts/slideLayout122.xml"/><Relationship Id="rId63" Type="http://schemas.openxmlformats.org/officeDocument/2006/relationships/slideLayout" Target="../slideLayouts/slideLayout130.xml"/><Relationship Id="rId68" Type="http://schemas.openxmlformats.org/officeDocument/2006/relationships/slideLayout" Target="../slideLayouts/slideLayout135.xml"/><Relationship Id="rId76" Type="http://schemas.openxmlformats.org/officeDocument/2006/relationships/slideLayout" Target="../slideLayouts/slideLayout143.xml"/><Relationship Id="rId84" Type="http://schemas.openxmlformats.org/officeDocument/2006/relationships/oleObject" Target="../embeddings/oleObject19.bin"/><Relationship Id="rId7" Type="http://schemas.openxmlformats.org/officeDocument/2006/relationships/slideLayout" Target="../slideLayouts/slideLayout74.xml"/><Relationship Id="rId71" Type="http://schemas.openxmlformats.org/officeDocument/2006/relationships/slideLayout" Target="../slideLayouts/slideLayout138.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3" Type="http://schemas.openxmlformats.org/officeDocument/2006/relationships/slideLayout" Target="../slideLayouts/slideLayout120.xml"/><Relationship Id="rId58" Type="http://schemas.openxmlformats.org/officeDocument/2006/relationships/slideLayout" Target="../slideLayouts/slideLayout125.xml"/><Relationship Id="rId66" Type="http://schemas.openxmlformats.org/officeDocument/2006/relationships/slideLayout" Target="../slideLayouts/slideLayout133.xml"/><Relationship Id="rId74" Type="http://schemas.openxmlformats.org/officeDocument/2006/relationships/slideLayout" Target="../slideLayouts/slideLayout141.xml"/><Relationship Id="rId79" Type="http://schemas.openxmlformats.org/officeDocument/2006/relationships/slideLayout" Target="../slideLayouts/slideLayout146.xml"/><Relationship Id="rId5" Type="http://schemas.openxmlformats.org/officeDocument/2006/relationships/slideLayout" Target="../slideLayouts/slideLayout72.xml"/><Relationship Id="rId61" Type="http://schemas.openxmlformats.org/officeDocument/2006/relationships/slideLayout" Target="../slideLayouts/slideLayout128.xml"/><Relationship Id="rId82" Type="http://schemas.openxmlformats.org/officeDocument/2006/relationships/tags" Target="../tags/tag32.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56" Type="http://schemas.openxmlformats.org/officeDocument/2006/relationships/slideLayout" Target="../slideLayouts/slideLayout123.xml"/><Relationship Id="rId64" Type="http://schemas.openxmlformats.org/officeDocument/2006/relationships/slideLayout" Target="../slideLayouts/slideLayout131.xml"/><Relationship Id="rId69" Type="http://schemas.openxmlformats.org/officeDocument/2006/relationships/slideLayout" Target="../slideLayouts/slideLayout136.xml"/><Relationship Id="rId77" Type="http://schemas.openxmlformats.org/officeDocument/2006/relationships/slideLayout" Target="../slideLayouts/slideLayout144.x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72" Type="http://schemas.openxmlformats.org/officeDocument/2006/relationships/slideLayout" Target="../slideLayouts/slideLayout139.xml"/><Relationship Id="rId80" Type="http://schemas.openxmlformats.org/officeDocument/2006/relationships/theme" Target="../theme/theme2.xml"/><Relationship Id="rId85" Type="http://schemas.openxmlformats.org/officeDocument/2006/relationships/image" Target="../media/image1.emf"/><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59" Type="http://schemas.openxmlformats.org/officeDocument/2006/relationships/slideLayout" Target="../slideLayouts/slideLayout126.xml"/><Relationship Id="rId67" Type="http://schemas.openxmlformats.org/officeDocument/2006/relationships/slideLayout" Target="../slideLayouts/slideLayout134.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54" Type="http://schemas.openxmlformats.org/officeDocument/2006/relationships/slideLayout" Target="../slideLayouts/slideLayout121.xml"/><Relationship Id="rId62" Type="http://schemas.openxmlformats.org/officeDocument/2006/relationships/slideLayout" Target="../slideLayouts/slideLayout129.xml"/><Relationship Id="rId70" Type="http://schemas.openxmlformats.org/officeDocument/2006/relationships/slideLayout" Target="../slideLayouts/slideLayout137.xml"/><Relationship Id="rId75" Type="http://schemas.openxmlformats.org/officeDocument/2006/relationships/slideLayout" Target="../slideLayouts/slideLayout142.xml"/><Relationship Id="rId83" Type="http://schemas.openxmlformats.org/officeDocument/2006/relationships/tags" Target="../tags/tag3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 Id="rId57" Type="http://schemas.openxmlformats.org/officeDocument/2006/relationships/slideLayout" Target="../slideLayouts/slideLayout124.xml"/><Relationship Id="rId10" Type="http://schemas.openxmlformats.org/officeDocument/2006/relationships/slideLayout" Target="../slideLayouts/slideLayout77.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60" Type="http://schemas.openxmlformats.org/officeDocument/2006/relationships/slideLayout" Target="../slideLayouts/slideLayout127.xml"/><Relationship Id="rId65" Type="http://schemas.openxmlformats.org/officeDocument/2006/relationships/slideLayout" Target="../slideLayouts/slideLayout132.xml"/><Relationship Id="rId73" Type="http://schemas.openxmlformats.org/officeDocument/2006/relationships/slideLayout" Target="../slideLayouts/slideLayout140.xml"/><Relationship Id="rId78" Type="http://schemas.openxmlformats.org/officeDocument/2006/relationships/slideLayout" Target="../slideLayouts/slideLayout145.xml"/><Relationship Id="rId81" Type="http://schemas.openxmlformats.org/officeDocument/2006/relationships/vmlDrawing" Target="../drawings/vmlDrawing1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5"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34"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8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hidden="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999804946"/>
      </p:ext>
    </p:extLst>
  </p:cSld>
  <p:clrMap bg1="lt1" tx1="dk1" bg2="lt2" tx2="dk2" accent1="accent1" accent2="accent2" accent3="accent3" accent4="accent4" accent5="accent5" accent6="accent6" hlink="hlink" folHlink="folHlink"/>
  <p:sldLayoutIdLst>
    <p:sldLayoutId id="2147485191" r:id="rId1"/>
    <p:sldLayoutId id="2147485192" r:id="rId2"/>
    <p:sldLayoutId id="2147485193" r:id="rId3"/>
    <p:sldLayoutId id="2147485194" r:id="rId4"/>
    <p:sldLayoutId id="2147485195" r:id="rId5"/>
    <p:sldLayoutId id="2147485196" r:id="rId6"/>
    <p:sldLayoutId id="2147485197" r:id="rId7"/>
    <p:sldLayoutId id="2147485198" r:id="rId8"/>
    <p:sldLayoutId id="2147485199" r:id="rId9"/>
    <p:sldLayoutId id="2147485200" r:id="rId10"/>
    <p:sldLayoutId id="2147485201" r:id="rId11"/>
    <p:sldLayoutId id="2147485202" r:id="rId12"/>
    <p:sldLayoutId id="2147485203" r:id="rId13"/>
    <p:sldLayoutId id="2147485204" r:id="rId14"/>
    <p:sldLayoutId id="2147485205" r:id="rId15"/>
    <p:sldLayoutId id="2147485206" r:id="rId16"/>
    <p:sldLayoutId id="2147485207" r:id="rId17"/>
    <p:sldLayoutId id="2147485208" r:id="rId18"/>
    <p:sldLayoutId id="2147485209" r:id="rId19"/>
    <p:sldLayoutId id="2147485210" r:id="rId20"/>
    <p:sldLayoutId id="2147485211" r:id="rId21"/>
    <p:sldLayoutId id="2147485212" r:id="rId22"/>
    <p:sldLayoutId id="2147485213" r:id="rId23"/>
    <p:sldLayoutId id="2147485214" r:id="rId24"/>
    <p:sldLayoutId id="2147485215" r:id="rId25"/>
    <p:sldLayoutId id="2147485216" r:id="rId26"/>
    <p:sldLayoutId id="2147485217" r:id="rId27"/>
    <p:sldLayoutId id="2147485218" r:id="rId28"/>
    <p:sldLayoutId id="2147485219" r:id="rId29"/>
    <p:sldLayoutId id="2147485220" r:id="rId30"/>
    <p:sldLayoutId id="2147485221" r:id="rId31"/>
    <p:sldLayoutId id="2147485222" r:id="rId32"/>
    <p:sldLayoutId id="2147485223" r:id="rId33"/>
    <p:sldLayoutId id="2147485224" r:id="rId34"/>
    <p:sldLayoutId id="2147485225" r:id="rId35"/>
    <p:sldLayoutId id="2147485226" r:id="rId36"/>
    <p:sldLayoutId id="2147485227" r:id="rId37"/>
    <p:sldLayoutId id="2147485228" r:id="rId38"/>
    <p:sldLayoutId id="2147485229" r:id="rId39"/>
    <p:sldLayoutId id="2147485230" r:id="rId40"/>
    <p:sldLayoutId id="2147485231" r:id="rId41"/>
    <p:sldLayoutId id="2147485232" r:id="rId42"/>
    <p:sldLayoutId id="2147485233" r:id="rId43"/>
    <p:sldLayoutId id="2147485234" r:id="rId44"/>
    <p:sldLayoutId id="2147485235" r:id="rId45"/>
    <p:sldLayoutId id="2147485236" r:id="rId46"/>
    <p:sldLayoutId id="2147485237" r:id="rId47"/>
    <p:sldLayoutId id="2147485238" r:id="rId48"/>
    <p:sldLayoutId id="2147485239" r:id="rId49"/>
    <p:sldLayoutId id="2147485240" r:id="rId50"/>
    <p:sldLayoutId id="2147485241" r:id="rId51"/>
    <p:sldLayoutId id="2147485242" r:id="rId52"/>
    <p:sldLayoutId id="2147485243" r:id="rId53"/>
    <p:sldLayoutId id="2147485244" r:id="rId54"/>
    <p:sldLayoutId id="2147485245" r:id="rId55"/>
    <p:sldLayoutId id="2147485246" r:id="rId56"/>
    <p:sldLayoutId id="2147485247" r:id="rId57"/>
    <p:sldLayoutId id="2147485248" r:id="rId58"/>
    <p:sldLayoutId id="2147485249" r:id="rId59"/>
    <p:sldLayoutId id="2147485250" r:id="rId60"/>
    <p:sldLayoutId id="2147485251" r:id="rId61"/>
    <p:sldLayoutId id="2147485252" r:id="rId62"/>
    <p:sldLayoutId id="2147485253" r:id="rId63"/>
    <p:sldLayoutId id="2147485254" r:id="rId64"/>
    <p:sldLayoutId id="2147485255" r:id="rId65"/>
    <p:sldLayoutId id="2147485256" r:id="rId66"/>
    <p:sldLayoutId id="2147485257" r:id="rId67"/>
    <p:sldLayoutId id="2147485258" r:id="rId68"/>
    <p:sldLayoutId id="2147485259" r:id="rId69"/>
    <p:sldLayoutId id="2147485260" r:id="rId70"/>
    <p:sldLayoutId id="2147485261" r:id="rId71"/>
    <p:sldLayoutId id="2147485262" r:id="rId72"/>
    <p:sldLayoutId id="2147485263" r:id="rId73"/>
    <p:sldLayoutId id="2147485264" r:id="rId74"/>
    <p:sldLayoutId id="2147485265" r:id="rId75"/>
    <p:sldLayoutId id="2147485266" r:id="rId76"/>
    <p:sldLayoutId id="2147485267" r:id="rId77"/>
    <p:sldLayoutId id="2147485268" r:id="rId78"/>
    <p:sldLayoutId id="2147485269" r:id="rId7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rgbClr val="43526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435264"/>
        </a:buClr>
        <a:buFont typeface="Arial" panose="020B0604020202020204" pitchFamily="34" charset="0"/>
        <a:buChar char="​"/>
        <a:defRPr lang="en-US" sz="1200" kern="1200">
          <a:solidFill>
            <a:srgbClr val="435264"/>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435264"/>
        </a:buClr>
        <a:buFont typeface="Arial" panose="020B0604020202020204" pitchFamily="34" charset="0"/>
        <a:buChar char="•"/>
        <a:defRPr lang="en-US" sz="1200" kern="1200">
          <a:solidFill>
            <a:srgbClr val="435264"/>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435264"/>
        </a:buClr>
        <a:buFont typeface="Trebuchet MS" panose="020B0603020202020204" pitchFamily="34" charset="0"/>
        <a:buChar char="–"/>
        <a:defRPr lang="en-US" sz="1200" kern="1200">
          <a:solidFill>
            <a:srgbClr val="435264"/>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435264"/>
        </a:buClr>
        <a:buFont typeface="Arial" panose="020B0604020202020204" pitchFamily="34" charset="0"/>
        <a:buChar char="​"/>
        <a:defRPr lang="en-US" sz="1600" b="1" kern="1200">
          <a:solidFill>
            <a:srgbClr val="435264"/>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435264"/>
        </a:buClr>
        <a:buFont typeface="Arial" panose="020B0604020202020204" pitchFamily="34" charset="0"/>
        <a:buChar char="​"/>
        <a:defRPr lang="en-US" sz="1600" b="1" kern="1200" smtClean="0">
          <a:solidFill>
            <a:srgbClr val="435264"/>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435264"/>
        </a:buClr>
        <a:buFont typeface="Arial" panose="020B0604020202020204" pitchFamily="34" charset="0"/>
        <a:buChar char="•"/>
        <a:defRPr lang="en-US" sz="1600" kern="1200" smtClean="0">
          <a:solidFill>
            <a:srgbClr val="435264"/>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435264"/>
        </a:buClr>
        <a:buFont typeface="Arial" panose="020B0604020202020204" pitchFamily="34" charset="0"/>
        <a:buChar char="​"/>
        <a:defRPr lang="en-US" sz="4400" kern="1200" baseline="0" smtClean="0">
          <a:solidFill>
            <a:srgbClr val="435264"/>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435264"/>
        </a:buClr>
        <a:buFont typeface="Arial" panose="020B0604020202020204" pitchFamily="34" charset="0"/>
        <a:buChar char="​"/>
        <a:defRPr lang="en-US" sz="5400" kern="1200" baseline="0" smtClean="0">
          <a:solidFill>
            <a:srgbClr val="435264"/>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435264"/>
        </a:buClr>
        <a:buFont typeface="Arial" panose="020B0604020202020204" pitchFamily="34" charset="0"/>
        <a:buChar char="​"/>
        <a:defRPr lang="en-US" sz="2400" kern="1200" baseline="0" dirty="0">
          <a:solidFill>
            <a:srgbClr val="435264"/>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4.jpg"/><Relationship Id="rId3" Type="http://schemas.openxmlformats.org/officeDocument/2006/relationships/tags" Target="../tags/tag184.xml"/><Relationship Id="rId7" Type="http://schemas.openxmlformats.org/officeDocument/2006/relationships/image" Target="../media/image2.emf"/><Relationship Id="rId2" Type="http://schemas.openxmlformats.org/officeDocument/2006/relationships/tags" Target="../tags/tag183.xml"/><Relationship Id="rId1" Type="http://schemas.openxmlformats.org/officeDocument/2006/relationships/vmlDrawing" Target="../drawings/vmlDrawing91.vml"/><Relationship Id="rId6" Type="http://schemas.openxmlformats.org/officeDocument/2006/relationships/oleObject" Target="../embeddings/oleObject9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vmlDrawing" Target="../drawings/vmlDrawing100.vml"/><Relationship Id="rId6" Type="http://schemas.openxmlformats.org/officeDocument/2006/relationships/oleObject" Target="../embeddings/oleObject100.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221.xml"/><Relationship Id="rId7" Type="http://schemas.openxmlformats.org/officeDocument/2006/relationships/oleObject" Target="../embeddings/oleObject101.bin"/><Relationship Id="rId2" Type="http://schemas.openxmlformats.org/officeDocument/2006/relationships/tags" Target="../tags/tag220.xml"/><Relationship Id="rId1" Type="http://schemas.openxmlformats.org/officeDocument/2006/relationships/vmlDrawing" Target="../drawings/vmlDrawing101.v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222.xml"/></Relationships>
</file>

<file path=ppt/slides/_rels/slide12.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224.xml"/><Relationship Id="rId7" Type="http://schemas.openxmlformats.org/officeDocument/2006/relationships/oleObject" Target="../embeddings/oleObject102.bin"/><Relationship Id="rId2" Type="http://schemas.openxmlformats.org/officeDocument/2006/relationships/tags" Target="../tags/tag223.xml"/><Relationship Id="rId1" Type="http://schemas.openxmlformats.org/officeDocument/2006/relationships/vmlDrawing" Target="../drawings/vmlDrawing102.vml"/><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ags" Target="../tags/tag225.xml"/></Relationships>
</file>

<file path=ppt/slides/_rels/slide1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27.xml"/><Relationship Id="rId7" Type="http://schemas.openxmlformats.org/officeDocument/2006/relationships/oleObject" Target="../embeddings/oleObject103.bin"/><Relationship Id="rId2" Type="http://schemas.openxmlformats.org/officeDocument/2006/relationships/tags" Target="../tags/tag226.xml"/><Relationship Id="rId1" Type="http://schemas.openxmlformats.org/officeDocument/2006/relationships/vmlDrawing" Target="../drawings/vmlDrawing103.vml"/><Relationship Id="rId6" Type="http://schemas.openxmlformats.org/officeDocument/2006/relationships/notesSlide" Target="../notesSlides/notesSlide10.xml"/><Relationship Id="rId5" Type="http://schemas.openxmlformats.org/officeDocument/2006/relationships/slideLayout" Target="../slideLayouts/slideLayout2.xml"/><Relationship Id="rId10" Type="http://schemas.openxmlformats.org/officeDocument/2006/relationships/image" Target="../media/image26.jpg"/><Relationship Id="rId4" Type="http://schemas.openxmlformats.org/officeDocument/2006/relationships/tags" Target="../tags/tag228.xml"/><Relationship Id="rId9" Type="http://schemas.openxmlformats.org/officeDocument/2006/relationships/image" Target="../media/image27.jpg"/></Relationships>
</file>

<file path=ppt/slides/_rels/slide14.xml.rels><?xml version="1.0" encoding="UTF-8" standalone="yes"?>
<Relationships xmlns="http://schemas.openxmlformats.org/package/2006/relationships"><Relationship Id="rId8" Type="http://schemas.openxmlformats.org/officeDocument/2006/relationships/hyperlink" Target="https://pandas.pydata.org/" TargetMode="External"/><Relationship Id="rId3" Type="http://schemas.openxmlformats.org/officeDocument/2006/relationships/tags" Target="../tags/tag230.xml"/><Relationship Id="rId7" Type="http://schemas.openxmlformats.org/officeDocument/2006/relationships/hyperlink" Target="https://jakevdp.github.io/PythonDataScienceHandbook/" TargetMode="External"/><Relationship Id="rId2" Type="http://schemas.openxmlformats.org/officeDocument/2006/relationships/tags" Target="../tags/tag229.xml"/><Relationship Id="rId1" Type="http://schemas.openxmlformats.org/officeDocument/2006/relationships/vmlDrawing" Target="../drawings/vmlDrawing104.vml"/><Relationship Id="rId6" Type="http://schemas.openxmlformats.org/officeDocument/2006/relationships/image" Target="../media/image29.emf"/><Relationship Id="rId5" Type="http://schemas.openxmlformats.org/officeDocument/2006/relationships/oleObject" Target="../embeddings/oleObject104.bin"/><Relationship Id="rId10" Type="http://schemas.openxmlformats.org/officeDocument/2006/relationships/hyperlink" Target="https://scikit-learn.org/stable/tutorial/index.html" TargetMode="External"/><Relationship Id="rId4" Type="http://schemas.openxmlformats.org/officeDocument/2006/relationships/slideLayout" Target="../slideLayouts/slideLayout3.xml"/><Relationship Id="rId9" Type="http://schemas.openxmlformats.org/officeDocument/2006/relationships/hyperlink" Target="https://pandas.pydata.org/pandas-docs/stable/getting_started/10min.html"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232.xml"/><Relationship Id="rId7" Type="http://schemas.openxmlformats.org/officeDocument/2006/relationships/oleObject" Target="../embeddings/oleObject105.bin"/><Relationship Id="rId2" Type="http://schemas.openxmlformats.org/officeDocument/2006/relationships/tags" Target="../tags/tag231.xml"/><Relationship Id="rId1" Type="http://schemas.openxmlformats.org/officeDocument/2006/relationships/vmlDrawing" Target="../drawings/vmlDrawing105.vml"/><Relationship Id="rId6" Type="http://schemas.openxmlformats.org/officeDocument/2006/relationships/notesSlide" Target="../notesSlides/notesSlide11.xml"/><Relationship Id="rId5" Type="http://schemas.openxmlformats.org/officeDocument/2006/relationships/slideLayout" Target="../slideLayouts/slideLayout18.xml"/><Relationship Id="rId4" Type="http://schemas.openxmlformats.org/officeDocument/2006/relationships/tags" Target="../tags/tag233.xml"/></Relationships>
</file>

<file path=ppt/slides/_rels/slide16.xml.rels><?xml version="1.0" encoding="UTF-8" standalone="yes"?>
<Relationships xmlns="http://schemas.openxmlformats.org/package/2006/relationships"><Relationship Id="rId8" Type="http://schemas.openxmlformats.org/officeDocument/2006/relationships/tags" Target="../tags/tag240.xml"/><Relationship Id="rId13" Type="http://schemas.openxmlformats.org/officeDocument/2006/relationships/slide" Target="slide9.xml"/><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slide" Target="slide16.xml"/><Relationship Id="rId2" Type="http://schemas.openxmlformats.org/officeDocument/2006/relationships/tags" Target="../tags/tag234.xml"/><Relationship Id="rId16" Type="http://schemas.openxmlformats.org/officeDocument/2006/relationships/image" Target="../media/image29.emf"/><Relationship Id="rId1" Type="http://schemas.openxmlformats.org/officeDocument/2006/relationships/vmlDrawing" Target="../drawings/vmlDrawing106.vml"/><Relationship Id="rId6" Type="http://schemas.openxmlformats.org/officeDocument/2006/relationships/tags" Target="../tags/tag238.xml"/><Relationship Id="rId11" Type="http://schemas.openxmlformats.org/officeDocument/2006/relationships/image" Target="../media/image28.emf"/><Relationship Id="rId5" Type="http://schemas.openxmlformats.org/officeDocument/2006/relationships/tags" Target="../tags/tag237.xml"/><Relationship Id="rId15" Type="http://schemas.openxmlformats.org/officeDocument/2006/relationships/oleObject" Target="../embeddings/oleObject106.bin"/><Relationship Id="rId10" Type="http://schemas.openxmlformats.org/officeDocument/2006/relationships/slideLayout" Target="../slideLayouts/slideLayout9.xml"/><Relationship Id="rId4" Type="http://schemas.openxmlformats.org/officeDocument/2006/relationships/tags" Target="../tags/tag236.xml"/><Relationship Id="rId9" Type="http://schemas.openxmlformats.org/officeDocument/2006/relationships/tags" Target="../tags/tag241.xml"/><Relationship Id="rId14" Type="http://schemas.openxmlformats.org/officeDocument/2006/relationships/slide" Target="slide4.xml"/></Relationships>
</file>

<file path=ppt/slides/_rels/slide17.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vmlDrawing" Target="../drawings/vmlDrawing107.vml"/><Relationship Id="rId6" Type="http://schemas.openxmlformats.org/officeDocument/2006/relationships/image" Target="../media/image29.emf"/><Relationship Id="rId5" Type="http://schemas.openxmlformats.org/officeDocument/2006/relationships/oleObject" Target="../embeddings/oleObject107.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245.xml"/><Relationship Id="rId7" Type="http://schemas.openxmlformats.org/officeDocument/2006/relationships/oleObject" Target="../embeddings/oleObject108.bin"/><Relationship Id="rId2" Type="http://schemas.openxmlformats.org/officeDocument/2006/relationships/tags" Target="../tags/tag244.xml"/><Relationship Id="rId1" Type="http://schemas.openxmlformats.org/officeDocument/2006/relationships/vmlDrawing" Target="../drawings/vmlDrawing108.v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246.xml"/></Relationships>
</file>

<file path=ppt/slides/_rels/slide19.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248.xml"/><Relationship Id="rId7" Type="http://schemas.openxmlformats.org/officeDocument/2006/relationships/oleObject" Target="../embeddings/oleObject109.bin"/><Relationship Id="rId2" Type="http://schemas.openxmlformats.org/officeDocument/2006/relationships/tags" Target="../tags/tag247.xml"/><Relationship Id="rId1" Type="http://schemas.openxmlformats.org/officeDocument/2006/relationships/vmlDrawing" Target="../drawings/vmlDrawing109.vml"/><Relationship Id="rId6" Type="http://schemas.openxmlformats.org/officeDocument/2006/relationships/notesSlide" Target="../notesSlides/notesSlide13.xml"/><Relationship Id="rId5" Type="http://schemas.openxmlformats.org/officeDocument/2006/relationships/slideLayout" Target="../slideLayouts/slideLayout9.xml"/><Relationship Id="rId10" Type="http://schemas.openxmlformats.org/officeDocument/2006/relationships/image" Target="../media/image32.jpg"/><Relationship Id="rId4" Type="http://schemas.openxmlformats.org/officeDocument/2006/relationships/tags" Target="../tags/tag249.xml"/><Relationship Id="rId9" Type="http://schemas.openxmlformats.org/officeDocument/2006/relationships/hyperlink" Target="mailto:Breavoine.Marie@bcg.com" TargetMode="Externa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92.bin"/><Relationship Id="rId3" Type="http://schemas.openxmlformats.org/officeDocument/2006/relationships/tags" Target="../tags/tag186.xml"/><Relationship Id="rId7" Type="http://schemas.openxmlformats.org/officeDocument/2006/relationships/notesSlide" Target="../notesSlides/notesSlide2.xml"/><Relationship Id="rId2" Type="http://schemas.openxmlformats.org/officeDocument/2006/relationships/tags" Target="../tags/tag185.xml"/><Relationship Id="rId1" Type="http://schemas.openxmlformats.org/officeDocument/2006/relationships/vmlDrawing" Target="../drawings/vmlDrawing92.vml"/><Relationship Id="rId6" Type="http://schemas.openxmlformats.org/officeDocument/2006/relationships/slideLayout" Target="../slideLayouts/slideLayout8.xml"/><Relationship Id="rId11" Type="http://schemas.openxmlformats.org/officeDocument/2006/relationships/image" Target="../media/image27.jpg"/><Relationship Id="rId5" Type="http://schemas.openxmlformats.org/officeDocument/2006/relationships/tags" Target="../tags/tag188.xml"/><Relationship Id="rId10" Type="http://schemas.openxmlformats.org/officeDocument/2006/relationships/image" Target="../media/image26.jpg"/><Relationship Id="rId4" Type="http://schemas.openxmlformats.org/officeDocument/2006/relationships/tags" Target="../tags/tag187.xml"/><Relationship Id="rId9" Type="http://schemas.openxmlformats.org/officeDocument/2006/relationships/image" Target="../media/image25.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190.xml"/><Relationship Id="rId7" Type="http://schemas.openxmlformats.org/officeDocument/2006/relationships/oleObject" Target="../embeddings/oleObject93.bin"/><Relationship Id="rId2" Type="http://schemas.openxmlformats.org/officeDocument/2006/relationships/tags" Target="../tags/tag189.xml"/><Relationship Id="rId1" Type="http://schemas.openxmlformats.org/officeDocument/2006/relationships/vmlDrawing" Target="../drawings/vmlDrawing93.vml"/><Relationship Id="rId6" Type="http://schemas.openxmlformats.org/officeDocument/2006/relationships/notesSlide" Target="../notesSlides/notesSlide3.xml"/><Relationship Id="rId5" Type="http://schemas.openxmlformats.org/officeDocument/2006/relationships/slideLayout" Target="../slideLayouts/slideLayout2.xml"/><Relationship Id="rId4" Type="http://schemas.openxmlformats.org/officeDocument/2006/relationships/tags" Target="../tags/tag191.xml"/></Relationships>
</file>

<file path=ppt/slides/_rels/slide4.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image" Target="../media/image28.emf"/><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slide" Target="slide9.xml"/><Relationship Id="rId2" Type="http://schemas.openxmlformats.org/officeDocument/2006/relationships/tags" Target="../tags/tag192.xml"/><Relationship Id="rId16" Type="http://schemas.openxmlformats.org/officeDocument/2006/relationships/image" Target="../media/image25.emf"/><Relationship Id="rId1" Type="http://schemas.openxmlformats.org/officeDocument/2006/relationships/vmlDrawing" Target="../drawings/vmlDrawing94.vml"/><Relationship Id="rId6" Type="http://schemas.openxmlformats.org/officeDocument/2006/relationships/tags" Target="../tags/tag196.xml"/><Relationship Id="rId11" Type="http://schemas.openxmlformats.org/officeDocument/2006/relationships/slide" Target="slide16.xml"/><Relationship Id="rId5" Type="http://schemas.openxmlformats.org/officeDocument/2006/relationships/tags" Target="../tags/tag195.xml"/><Relationship Id="rId15" Type="http://schemas.openxmlformats.org/officeDocument/2006/relationships/oleObject" Target="../embeddings/oleObject94.bin"/><Relationship Id="rId10" Type="http://schemas.openxmlformats.org/officeDocument/2006/relationships/slideLayout" Target="../slideLayouts/slideLayout9.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slide" Target="slide4.xml"/></Relationships>
</file>

<file path=ppt/slides/_rels/slide5.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29.emf"/><Relationship Id="rId2" Type="http://schemas.openxmlformats.org/officeDocument/2006/relationships/tags" Target="../tags/tag200.xml"/><Relationship Id="rId1" Type="http://schemas.openxmlformats.org/officeDocument/2006/relationships/vmlDrawing" Target="../drawings/vmlDrawing95.vml"/><Relationship Id="rId6" Type="http://schemas.openxmlformats.org/officeDocument/2006/relationships/oleObject" Target="../embeddings/oleObject95.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96.bin"/><Relationship Id="rId3" Type="http://schemas.openxmlformats.org/officeDocument/2006/relationships/tags" Target="../tags/tag203.xml"/><Relationship Id="rId7" Type="http://schemas.openxmlformats.org/officeDocument/2006/relationships/notesSlide" Target="../notesSlides/notesSlide5.xml"/><Relationship Id="rId2" Type="http://schemas.openxmlformats.org/officeDocument/2006/relationships/tags" Target="../tags/tag202.xml"/><Relationship Id="rId1" Type="http://schemas.openxmlformats.org/officeDocument/2006/relationships/vmlDrawing" Target="../drawings/vmlDrawing96.vml"/><Relationship Id="rId6" Type="http://schemas.openxmlformats.org/officeDocument/2006/relationships/slideLayout" Target="../slideLayouts/slideLayout2.xml"/><Relationship Id="rId5" Type="http://schemas.openxmlformats.org/officeDocument/2006/relationships/tags" Target="../tags/tag205.xml"/><Relationship Id="rId4" Type="http://schemas.openxmlformats.org/officeDocument/2006/relationships/tags" Target="../tags/tag204.xml"/><Relationship Id="rId9" Type="http://schemas.openxmlformats.org/officeDocument/2006/relationships/image" Target="../media/image25.emf"/></Relationships>
</file>

<file path=ppt/slides/_rels/slide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97.vml"/><Relationship Id="rId6" Type="http://schemas.openxmlformats.org/officeDocument/2006/relationships/image" Target="../media/image29.emf"/><Relationship Id="rId5" Type="http://schemas.openxmlformats.org/officeDocument/2006/relationships/oleObject" Target="../embeddings/oleObject97.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30.emf"/><Relationship Id="rId2" Type="http://schemas.openxmlformats.org/officeDocument/2006/relationships/tags" Target="../tags/tag208.xml"/><Relationship Id="rId1" Type="http://schemas.openxmlformats.org/officeDocument/2006/relationships/vmlDrawing" Target="../drawings/vmlDrawing98.vml"/><Relationship Id="rId6" Type="http://schemas.openxmlformats.org/officeDocument/2006/relationships/oleObject" Target="../embeddings/oleObject98.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216.xml"/><Relationship Id="rId13" Type="http://schemas.openxmlformats.org/officeDocument/2006/relationships/slide" Target="slide9.xml"/><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28.emf"/><Relationship Id="rId2" Type="http://schemas.openxmlformats.org/officeDocument/2006/relationships/tags" Target="../tags/tag210.xml"/><Relationship Id="rId16" Type="http://schemas.openxmlformats.org/officeDocument/2006/relationships/image" Target="../media/image29.emf"/><Relationship Id="rId1" Type="http://schemas.openxmlformats.org/officeDocument/2006/relationships/vmlDrawing" Target="../drawings/vmlDrawing99.vml"/><Relationship Id="rId6" Type="http://schemas.openxmlformats.org/officeDocument/2006/relationships/tags" Target="../tags/tag214.xml"/><Relationship Id="rId11" Type="http://schemas.openxmlformats.org/officeDocument/2006/relationships/slide" Target="slide16.xml"/><Relationship Id="rId5" Type="http://schemas.openxmlformats.org/officeDocument/2006/relationships/tags" Target="../tags/tag213.xml"/><Relationship Id="rId15" Type="http://schemas.openxmlformats.org/officeDocument/2006/relationships/oleObject" Target="../embeddings/oleObject99.bin"/><Relationship Id="rId10" Type="http://schemas.openxmlformats.org/officeDocument/2006/relationships/slideLayout" Target="../slideLayouts/slideLayout9.xml"/><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slide" Target="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05113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0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3A6FD20-F88B-41FA-BF1A-1935EEC1C864}"/>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4" name="Picture Placeholder 3">
            <a:extLst>
              <a:ext uri="{FF2B5EF4-FFF2-40B4-BE49-F238E27FC236}">
                <a16:creationId xmlns:a16="http://schemas.microsoft.com/office/drawing/2014/main" id="{BF36A54C-F4C0-4EA5-8E00-D68BD048624A}"/>
              </a:ext>
            </a:extLst>
          </p:cNvPr>
          <p:cNvPicPr>
            <a:picLocks noGrp="1" noChangeAspect="1"/>
          </p:cNvPicPr>
          <p:nvPr>
            <p:ph type="pic" sz="quarter" idx="13"/>
          </p:nvPr>
        </p:nvPicPr>
        <p:blipFill>
          <a:blip r:embed="rId8"/>
          <a:srcRect t="26019" b="26019"/>
          <a:stretch>
            <a:fillRect/>
          </a:stretch>
        </p:blipFill>
        <p:spPr/>
      </p:pic>
      <p:sp>
        <p:nvSpPr>
          <p:cNvPr id="13" name="Text Placeholder 12"/>
          <p:cNvSpPr>
            <a:spLocks noGrp="1"/>
          </p:cNvSpPr>
          <p:nvPr>
            <p:ph type="body" sz="quarter" idx="12"/>
          </p:nvPr>
        </p:nvSpPr>
        <p:spPr/>
        <p:txBody>
          <a:bodyPr/>
          <a:lstStyle/>
          <a:p>
            <a:r>
              <a:rPr lang="en-US" dirty="0"/>
              <a:t>February 2021</a:t>
            </a:r>
          </a:p>
        </p:txBody>
      </p:sp>
      <p:sp>
        <p:nvSpPr>
          <p:cNvPr id="12" name="Subtitle 11"/>
          <p:cNvSpPr>
            <a:spLocks noGrp="1"/>
          </p:cNvSpPr>
          <p:nvPr>
            <p:ph type="subTitle" idx="1"/>
          </p:nvPr>
        </p:nvSpPr>
        <p:spPr>
          <a:xfrm>
            <a:off x="1117414" y="5495706"/>
            <a:ext cx="6947593" cy="436195"/>
          </a:xfrm>
        </p:spPr>
        <p:txBody>
          <a:bodyPr/>
          <a:lstStyle/>
          <a:p>
            <a:r>
              <a:rPr lang="en-US" dirty="0"/>
              <a:t>Reshaping business strategy and delivering massive impact: the power of AI</a:t>
            </a:r>
          </a:p>
        </p:txBody>
      </p:sp>
      <p:sp>
        <p:nvSpPr>
          <p:cNvPr id="11" name="Title 10"/>
          <p:cNvSpPr>
            <a:spLocks noGrp="1"/>
          </p:cNvSpPr>
          <p:nvPr>
            <p:ph type="ctrTitle"/>
          </p:nvPr>
        </p:nvSpPr>
        <p:spPr/>
        <p:txBody>
          <a:bodyPr/>
          <a:lstStyle/>
          <a:p>
            <a:r>
              <a:rPr lang="en-US" dirty="0"/>
              <a:t>The power of AI</a:t>
            </a:r>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44" hidden="1"/>
          <p:cNvGraphicFramePr>
            <a:graphicFrameLocks/>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479253" name="think-cell Slide" r:id="rId6" imgW="0" imgH="0" progId="TCLayout.ActiveDocument.1">
                  <p:embed/>
                </p:oleObj>
              </mc:Choice>
              <mc:Fallback>
                <p:oleObj name="think-cell Slide" r:id="rId6" imgW="0" imgH="0" progId="TCLayout.ActiveDocument.1">
                  <p:embed/>
                  <p:pic>
                    <p:nvPicPr>
                      <p:cNvPr id="4098" name="Rectangle 4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099" name="Rectangle 2"/>
          <p:cNvSpPr>
            <a:spLocks noGrp="1" noChangeArrowheads="1"/>
          </p:cNvSpPr>
          <p:nvPr>
            <p:ph type="title"/>
          </p:nvPr>
        </p:nvSpPr>
        <p:spPr/>
        <p:txBody>
          <a:bodyPr/>
          <a:lstStyle/>
          <a:p>
            <a:pPr eaLnBrk="1" hangingPunct="1"/>
            <a:r>
              <a:rPr lang="en-US" altLang="fr-FR" dirty="0">
                <a:latin typeface="+mn-lt"/>
              </a:rPr>
              <a:t>Case Study Calendar</a:t>
            </a:r>
          </a:p>
        </p:txBody>
      </p:sp>
      <p:sp>
        <p:nvSpPr>
          <p:cNvPr id="4100" name="AutoShape 16"/>
          <p:cNvSpPr>
            <a:spLocks noChangeArrowheads="1"/>
          </p:cNvSpPr>
          <p:nvPr/>
        </p:nvSpPr>
        <p:spPr bwMode="auto">
          <a:xfrm>
            <a:off x="2588667" y="1429317"/>
            <a:ext cx="3040084" cy="533400"/>
          </a:xfrm>
          <a:prstGeom prst="homePlate">
            <a:avLst>
              <a:gd name="adj" fmla="val 24619"/>
            </a:avLst>
          </a:prstGeom>
          <a:solidFill>
            <a:schemeClr val="tx2"/>
          </a:solidFill>
          <a:ln w="9525" algn="ctr">
            <a:solidFill>
              <a:schemeClr val="bg1"/>
            </a:solidFill>
            <a:miter lim="800000"/>
            <a:headEnd/>
            <a:tailEnd/>
          </a:ln>
        </p:spPr>
        <p:txBody>
          <a:bodyPr lIns="182880" tIns="91440" bIns="91440"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r>
              <a:rPr lang="en-US" altLang="fr-FR" sz="1400" dirty="0">
                <a:solidFill>
                  <a:schemeClr val="bg1"/>
                </a:solidFill>
                <a:latin typeface="+mn-lt"/>
              </a:rPr>
              <a:t>Kick Off</a:t>
            </a:r>
          </a:p>
        </p:txBody>
      </p:sp>
      <p:sp>
        <p:nvSpPr>
          <p:cNvPr id="4101" name="AutoShape 18"/>
          <p:cNvSpPr>
            <a:spLocks noChangeArrowheads="1"/>
          </p:cNvSpPr>
          <p:nvPr/>
        </p:nvSpPr>
        <p:spPr bwMode="auto">
          <a:xfrm>
            <a:off x="8492713" y="1429317"/>
            <a:ext cx="3040084" cy="533400"/>
          </a:xfrm>
          <a:prstGeom prst="chevron">
            <a:avLst>
              <a:gd name="adj" fmla="val 24363"/>
            </a:avLst>
          </a:prstGeom>
          <a:solidFill>
            <a:schemeClr val="tx2"/>
          </a:solidFill>
          <a:ln w="9525" algn="ctr">
            <a:solidFill>
              <a:schemeClr val="bg1"/>
            </a:solidFill>
            <a:miter lim="800000"/>
            <a:headEnd/>
            <a:tailEnd/>
          </a:ln>
        </p:spPr>
        <p:txBody>
          <a:bodyPr lIns="182880" tIns="91440" bIns="91440"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r>
              <a:rPr lang="en-US" altLang="fr-FR" sz="1400" dirty="0">
                <a:solidFill>
                  <a:schemeClr val="bg1"/>
                </a:solidFill>
                <a:latin typeface="+mn-lt"/>
              </a:rPr>
              <a:t>CEO Presentation</a:t>
            </a:r>
          </a:p>
        </p:txBody>
      </p:sp>
      <p:sp>
        <p:nvSpPr>
          <p:cNvPr id="29" name="Rectangle 30">
            <a:extLst>
              <a:ext uri="{FF2B5EF4-FFF2-40B4-BE49-F238E27FC236}">
                <a16:creationId xmlns:a16="http://schemas.microsoft.com/office/drawing/2014/main" id="{57B8DC87-4C2D-413A-9139-CD08A9A5C27C}"/>
              </a:ext>
            </a:extLst>
          </p:cNvPr>
          <p:cNvSpPr>
            <a:spLocks noChangeArrowheads="1"/>
          </p:cNvSpPr>
          <p:nvPr/>
        </p:nvSpPr>
        <p:spPr bwMode="auto">
          <a:xfrm>
            <a:off x="2557195" y="2650327"/>
            <a:ext cx="2953865"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a:sp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en-US" altLang="fr-FR" dirty="0">
                <a:solidFill>
                  <a:schemeClr val="tx1">
                    <a:lumMod val="100000"/>
                  </a:schemeClr>
                </a:solidFill>
                <a:latin typeface="+mn-lt"/>
              </a:rPr>
              <a:t>Case Study Brief</a:t>
            </a:r>
          </a:p>
          <a:p>
            <a:pPr eaLnBrk="1" hangingPunct="1">
              <a:buSzPct val="100000"/>
              <a:buFont typeface="Trebuchet MS" panose="020B0603020202020204" pitchFamily="34" charset="0"/>
              <a:buChar char="​"/>
            </a:pPr>
            <a:endParaRPr lang="en-US" altLang="fr-FR" dirty="0">
              <a:solidFill>
                <a:schemeClr val="tx1">
                  <a:lumMod val="100000"/>
                </a:schemeClr>
              </a:solidFill>
              <a:latin typeface="+mn-lt"/>
            </a:endParaRPr>
          </a:p>
          <a:p>
            <a:pPr eaLnBrk="1" hangingPunct="1">
              <a:buSzPct val="100000"/>
              <a:buFont typeface="Trebuchet MS" panose="020B0603020202020204" pitchFamily="34" charset="0"/>
              <a:buChar char="​"/>
            </a:pPr>
            <a:r>
              <a:rPr lang="en-US" altLang="fr-FR" dirty="0">
                <a:solidFill>
                  <a:schemeClr val="tx1">
                    <a:lumMod val="100000"/>
                  </a:schemeClr>
                </a:solidFill>
                <a:latin typeface="+mn-lt"/>
              </a:rPr>
              <a:t>Share onboarding materials: </a:t>
            </a:r>
            <a:r>
              <a:rPr lang="en-US" altLang="fr-FR" b="0" dirty="0">
                <a:solidFill>
                  <a:schemeClr val="tx1">
                    <a:lumMod val="100000"/>
                  </a:schemeClr>
                </a:solidFill>
                <a:latin typeface="+mn-lt"/>
              </a:rPr>
              <a:t>brief, 4 interviews, company docs, docs Knowledge Team</a:t>
            </a:r>
          </a:p>
        </p:txBody>
      </p:sp>
      <p:sp>
        <p:nvSpPr>
          <p:cNvPr id="4102" name="Rectangle 30"/>
          <p:cNvSpPr>
            <a:spLocks noChangeArrowheads="1"/>
          </p:cNvSpPr>
          <p:nvPr/>
        </p:nvSpPr>
        <p:spPr bwMode="auto">
          <a:xfrm>
            <a:off x="2557195" y="3839662"/>
            <a:ext cx="295386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a:sp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marL="324000" lvl="1" indent="-216000" eaLnBrk="1" hangingPunct="1">
              <a:buClr>
                <a:schemeClr val="tx2">
                  <a:lumMod val="100000"/>
                </a:schemeClr>
              </a:buClr>
              <a:buSzPct val="100000"/>
              <a:buFont typeface="Trebuchet MS" panose="020B0603020202020204" pitchFamily="34" charset="0"/>
              <a:buChar char="•"/>
            </a:pPr>
            <a:r>
              <a:rPr lang="en-US" altLang="fr-FR" dirty="0">
                <a:solidFill>
                  <a:schemeClr val="tx1">
                    <a:lumMod val="100000"/>
                  </a:schemeClr>
                </a:solidFill>
                <a:latin typeface="Trebuchet MS" panose="020B0603020202020204" pitchFamily="34" charset="0"/>
              </a:rPr>
              <a:t>Bionic Company Overview</a:t>
            </a:r>
          </a:p>
          <a:p>
            <a:pPr marL="324000" lvl="1" indent="-216000" eaLnBrk="1" hangingPunct="1">
              <a:buClr>
                <a:schemeClr val="tx2">
                  <a:lumMod val="100000"/>
                </a:schemeClr>
              </a:buClr>
              <a:buSzPct val="100000"/>
              <a:buFont typeface="Trebuchet MS" panose="020B0603020202020204" pitchFamily="34" charset="0"/>
              <a:buChar char="•"/>
            </a:pPr>
            <a:endParaRPr lang="en-US" altLang="fr-FR" dirty="0">
              <a:solidFill>
                <a:schemeClr val="tx1">
                  <a:lumMod val="100000"/>
                </a:schemeClr>
              </a:solidFill>
              <a:latin typeface="Trebuchet MS" panose="020B0603020202020204" pitchFamily="34" charset="0"/>
            </a:endParaRPr>
          </a:p>
          <a:p>
            <a:pPr marL="324000" lvl="1" indent="-216000" eaLnBrk="1" hangingPunct="1">
              <a:buClr>
                <a:schemeClr val="tx2">
                  <a:lumMod val="100000"/>
                </a:schemeClr>
              </a:buClr>
              <a:buSzPct val="100000"/>
              <a:buFont typeface="Trebuchet MS" panose="020B0603020202020204" pitchFamily="34" charset="0"/>
              <a:buChar char="•"/>
            </a:pPr>
            <a:r>
              <a:rPr lang="en-US" altLang="fr-FR" dirty="0">
                <a:solidFill>
                  <a:schemeClr val="tx1">
                    <a:lumMod val="100000"/>
                  </a:schemeClr>
                </a:solidFill>
                <a:latin typeface="Trebuchet MS" panose="020B0603020202020204" pitchFamily="34" charset="0"/>
              </a:rPr>
              <a:t>BCG GAMMA project approach</a:t>
            </a:r>
          </a:p>
        </p:txBody>
      </p:sp>
      <p:sp>
        <p:nvSpPr>
          <p:cNvPr id="4104" name="Rectangle 46"/>
          <p:cNvSpPr>
            <a:spLocks noChangeArrowheads="1"/>
          </p:cNvSpPr>
          <p:nvPr/>
        </p:nvSpPr>
        <p:spPr bwMode="auto">
          <a:xfrm>
            <a:off x="5511980" y="2719716"/>
            <a:ext cx="3066990"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a:lstStyle>
            <a:lvl1pPr eaLnBrk="0" hangingPunct="0">
              <a:defRPr sz="1200" b="1">
                <a:solidFill>
                  <a:schemeClr val="tx1"/>
                </a:solidFill>
                <a:latin typeface="Arial" panose="020B0604020202020204" pitchFamily="34" charset="0"/>
                <a:cs typeface="Arial" panose="020B0604020202020204" pitchFamily="34" charset="0"/>
              </a:defRPr>
            </a:lvl1pPr>
            <a:lvl2pPr marL="360363" indent="-180975"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en-US" altLang="fr-FR" dirty="0">
                <a:solidFill>
                  <a:schemeClr val="tx1">
                    <a:lumMod val="100000"/>
                  </a:schemeClr>
                </a:solidFill>
                <a:latin typeface="+mn-lt"/>
              </a:rPr>
              <a:t>Case Team Meeting (tutoring) with one consultant and one data scientist (30' per team). </a:t>
            </a:r>
            <a:r>
              <a:rPr lang="en-US" altLang="fr-FR" b="0" dirty="0">
                <a:solidFill>
                  <a:schemeClr val="tx1">
                    <a:lumMod val="100000"/>
                  </a:schemeClr>
                </a:solidFill>
                <a:latin typeface="+mn-lt"/>
              </a:rPr>
              <a:t>Some info shared to guide you to the end of the case study</a:t>
            </a:r>
          </a:p>
          <a:p>
            <a:pPr eaLnBrk="1" hangingPunct="1">
              <a:buSzPct val="100000"/>
              <a:buFont typeface="Trebuchet MS" panose="020B0603020202020204" pitchFamily="34" charset="0"/>
              <a:buChar char="​"/>
            </a:pPr>
            <a:endParaRPr lang="en-US" altLang="fr-FR" b="0" dirty="0">
              <a:solidFill>
                <a:schemeClr val="tx1">
                  <a:lumMod val="100000"/>
                </a:schemeClr>
              </a:solidFill>
              <a:latin typeface="+mn-lt"/>
            </a:endParaRPr>
          </a:p>
          <a:p>
            <a:pPr eaLnBrk="1" hangingPunct="1">
              <a:buSzPct val="100000"/>
            </a:pPr>
            <a:endParaRPr lang="en-US" altLang="fr-FR" dirty="0">
              <a:solidFill>
                <a:schemeClr val="tx1">
                  <a:lumMod val="100000"/>
                </a:schemeClr>
              </a:solidFill>
              <a:latin typeface="+mn-lt"/>
            </a:endParaRPr>
          </a:p>
        </p:txBody>
      </p:sp>
      <p:sp>
        <p:nvSpPr>
          <p:cNvPr id="4106" name="AutoShape 17"/>
          <p:cNvSpPr>
            <a:spLocks noChangeArrowheads="1"/>
          </p:cNvSpPr>
          <p:nvPr/>
        </p:nvSpPr>
        <p:spPr bwMode="auto">
          <a:xfrm>
            <a:off x="5542497" y="1429317"/>
            <a:ext cx="3036473" cy="533400"/>
          </a:xfrm>
          <a:prstGeom prst="chevron">
            <a:avLst>
              <a:gd name="adj" fmla="val 24334"/>
            </a:avLst>
          </a:prstGeom>
          <a:solidFill>
            <a:schemeClr val="tx2"/>
          </a:solidFill>
          <a:ln w="9525" algn="ctr">
            <a:solidFill>
              <a:schemeClr val="bg1"/>
            </a:solidFill>
            <a:miter lim="800000"/>
            <a:headEnd/>
            <a:tailEnd/>
          </a:ln>
        </p:spPr>
        <p:txBody>
          <a:bodyPr lIns="182880" tIns="91440" bIns="91440"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r>
              <a:rPr lang="en-US" altLang="fr-FR" sz="1400" dirty="0">
                <a:solidFill>
                  <a:schemeClr val="bg1"/>
                </a:solidFill>
                <a:latin typeface="+mn-lt"/>
              </a:rPr>
              <a:t>"Case Team Meeting"</a:t>
            </a:r>
          </a:p>
        </p:txBody>
      </p:sp>
      <p:sp>
        <p:nvSpPr>
          <p:cNvPr id="4107" name="Rectangle 58"/>
          <p:cNvSpPr>
            <a:spLocks noChangeArrowheads="1"/>
          </p:cNvSpPr>
          <p:nvPr/>
        </p:nvSpPr>
        <p:spPr bwMode="auto">
          <a:xfrm>
            <a:off x="5511980" y="4546154"/>
            <a:ext cx="2952024" cy="1907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a:no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273050" indent="-1841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endParaRPr lang="en-US" altLang="fr-FR" dirty="0">
              <a:solidFill>
                <a:schemeClr val="tx1">
                  <a:lumMod val="100000"/>
                </a:schemeClr>
              </a:solidFill>
              <a:latin typeface="+mn-lt"/>
            </a:endParaRPr>
          </a:p>
        </p:txBody>
      </p:sp>
      <p:sp>
        <p:nvSpPr>
          <p:cNvPr id="4108" name="Rectangle 60"/>
          <p:cNvSpPr>
            <a:spLocks noChangeArrowheads="1"/>
          </p:cNvSpPr>
          <p:nvPr/>
        </p:nvSpPr>
        <p:spPr bwMode="auto">
          <a:xfrm>
            <a:off x="8464004" y="2719716"/>
            <a:ext cx="2950182"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en-US" altLang="fr-FR" dirty="0">
                <a:solidFill>
                  <a:schemeClr val="tx1">
                    <a:lumMod val="100000"/>
                  </a:schemeClr>
                </a:solidFill>
                <a:latin typeface="+mn-lt"/>
              </a:rPr>
              <a:t>Final presentation: business case, recommendations and questions. Debriefing (30’ per team)</a:t>
            </a:r>
          </a:p>
        </p:txBody>
      </p:sp>
      <p:sp>
        <p:nvSpPr>
          <p:cNvPr id="4110" name="Rectangle 62"/>
          <p:cNvSpPr>
            <a:spLocks noChangeArrowheads="1"/>
          </p:cNvSpPr>
          <p:nvPr/>
        </p:nvSpPr>
        <p:spPr bwMode="auto">
          <a:xfrm>
            <a:off x="8464003" y="4818528"/>
            <a:ext cx="3068794" cy="1327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rIns="0">
            <a:no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360363" indent="-180975" eaLnBrk="0" hangingPunct="0">
              <a:defRPr sz="1200" b="1">
                <a:solidFill>
                  <a:schemeClr val="tx1"/>
                </a:solidFill>
                <a:latin typeface="Arial" panose="020B0604020202020204" pitchFamily="34" charset="0"/>
                <a:cs typeface="Arial" panose="020B0604020202020204" pitchFamily="34" charset="0"/>
              </a:defRPr>
            </a:lvl2pPr>
            <a:lvl3pPr marL="720725" indent="-180975"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en-US" altLang="fr-FR" dirty="0">
                <a:solidFill>
                  <a:schemeClr val="tx1">
                    <a:lumMod val="100000"/>
                  </a:schemeClr>
                </a:solidFill>
                <a:latin typeface="+mn-lt"/>
              </a:rPr>
              <a:t>Presentation in 5-10 slides maximum</a:t>
            </a:r>
          </a:p>
          <a:p>
            <a:pPr marL="324000" lvl="1" indent="-216000" eaLnBrk="1" hangingPunct="1">
              <a:buClr>
                <a:schemeClr val="tx2">
                  <a:lumMod val="100000"/>
                </a:schemeClr>
              </a:buClr>
              <a:buSzPct val="100000"/>
              <a:buFont typeface="Trebuchet MS" panose="020B0603020202020204" pitchFamily="34" charset="0"/>
              <a:buChar char="•"/>
            </a:pPr>
            <a:r>
              <a:rPr lang="en-US" altLang="fr-FR" b="0" dirty="0">
                <a:solidFill>
                  <a:schemeClr val="tx1">
                    <a:lumMod val="100000"/>
                  </a:schemeClr>
                </a:solidFill>
                <a:latin typeface="+mn-lt"/>
              </a:rPr>
              <a:t>Whole Storyline </a:t>
            </a:r>
          </a:p>
          <a:p>
            <a:pPr marL="324000" lvl="1" indent="-216000" eaLnBrk="1" hangingPunct="1">
              <a:buClr>
                <a:schemeClr val="tx2">
                  <a:lumMod val="100000"/>
                </a:schemeClr>
              </a:buClr>
              <a:buSzPct val="100000"/>
              <a:buFont typeface="Trebuchet MS" panose="020B0603020202020204" pitchFamily="34" charset="0"/>
              <a:buChar char="•"/>
            </a:pPr>
            <a:r>
              <a:rPr lang="en-US" altLang="fr-FR" b="0" dirty="0">
                <a:solidFill>
                  <a:schemeClr val="tx1">
                    <a:lumMod val="100000"/>
                  </a:schemeClr>
                </a:solidFill>
                <a:latin typeface="+mn-lt"/>
              </a:rPr>
              <a:t>Appendices if necessary</a:t>
            </a:r>
          </a:p>
          <a:p>
            <a:pPr marL="539750" lvl="2" indent="0" algn="l" eaLnBrk="1" hangingPunct="1">
              <a:lnSpc>
                <a:spcPct val="90000"/>
              </a:lnSpc>
              <a:buClr>
                <a:schemeClr val="tx2"/>
              </a:buClr>
            </a:pPr>
            <a:endParaRPr lang="en-US" altLang="fr-FR" b="0" i="1" dirty="0">
              <a:latin typeface="+mn-lt"/>
            </a:endParaRPr>
          </a:p>
          <a:p>
            <a:pPr eaLnBrk="1" hangingPunct="1">
              <a:lnSpc>
                <a:spcPct val="90000"/>
              </a:lnSpc>
              <a:buClr>
                <a:schemeClr val="tx2"/>
              </a:buClr>
            </a:pPr>
            <a:r>
              <a:rPr lang="en-US" altLang="fr-FR" u="sng" dirty="0">
                <a:solidFill>
                  <a:srgbClr val="E71C57"/>
                </a:solidFill>
                <a:latin typeface="+mn-lt"/>
              </a:rPr>
              <a:t>To be added in the Egnyte folder before Feb 10 9h40, with developed algorithmic models</a:t>
            </a:r>
          </a:p>
          <a:p>
            <a:pPr eaLnBrk="1" hangingPunct="1">
              <a:lnSpc>
                <a:spcPct val="90000"/>
              </a:lnSpc>
              <a:buClr>
                <a:schemeClr val="tx2"/>
              </a:buClr>
            </a:pPr>
            <a:endParaRPr lang="en-US" altLang="fr-FR" u="sng" dirty="0">
              <a:solidFill>
                <a:srgbClr val="E71C57"/>
              </a:solidFill>
              <a:latin typeface="+mn-lt"/>
            </a:endParaRPr>
          </a:p>
          <a:p>
            <a:pPr eaLnBrk="1" hangingPunct="1">
              <a:lnSpc>
                <a:spcPct val="90000"/>
              </a:lnSpc>
              <a:buClr>
                <a:schemeClr val="tx2"/>
              </a:buClr>
            </a:pPr>
            <a:r>
              <a:rPr lang="en-US" altLang="fr-FR" u="sng" dirty="0">
                <a:solidFill>
                  <a:srgbClr val="E71C57"/>
                </a:solidFill>
                <a:latin typeface="+mn-lt"/>
              </a:rPr>
              <a:t>https://bcg01.egnyte.com/navigate/folder/ffb017a6-6dd8-4282-a75e-9942d025db54</a:t>
            </a:r>
          </a:p>
        </p:txBody>
      </p:sp>
      <p:sp>
        <p:nvSpPr>
          <p:cNvPr id="4111" name="Rectangle 68"/>
          <p:cNvSpPr>
            <a:spLocks noChangeArrowheads="1"/>
          </p:cNvSpPr>
          <p:nvPr/>
        </p:nvSpPr>
        <p:spPr bwMode="auto">
          <a:xfrm>
            <a:off x="630000" y="2128371"/>
            <a:ext cx="1574534" cy="341313"/>
          </a:xfrm>
          <a:prstGeom prst="rect">
            <a:avLst/>
          </a:prstGeom>
          <a:solidFill>
            <a:srgbClr val="C8C8C8"/>
          </a:solidFill>
          <a:ln w="9525" cap="flat" cmpd="sng" algn="ctr">
            <a:noFill/>
            <a:prstDash val="solid"/>
            <a:miter lim="800000"/>
            <a:headEnd type="none" w="lg" len="lg"/>
            <a:tailEnd type="none" w="lg" len="lg"/>
          </a:ln>
          <a:extLst>
            <a:ext uri="{91240B29-F687-4F45-9708-019B960494DF}">
              <a14:hiddenLine xmlns:a14="http://schemas.microsoft.com/office/drawing/2010/main" w="9525" cap="flat" cmpd="sng" algn="ctr">
                <a:solidFill>
                  <a:srgbClr val="E71C57"/>
                </a:solidFill>
                <a:prstDash val="solid"/>
                <a:miter lim="800000"/>
                <a:headEnd type="none" w="lg" len="lg"/>
                <a:tailEnd type="none" w="lg" len="lg"/>
              </a14:hiddenLine>
            </a:ext>
          </a:extLst>
        </p:spPr>
        <p:txBody>
          <a:bodyPr wrap="none"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en-US" altLang="fr-FR" dirty="0">
                <a:solidFill>
                  <a:schemeClr val="tx1">
                    <a:lumMod val="100000"/>
                  </a:schemeClr>
                </a:solidFill>
                <a:latin typeface="+mn-lt"/>
              </a:rPr>
              <a:t>Date and venue</a:t>
            </a:r>
          </a:p>
        </p:txBody>
      </p:sp>
      <p:sp>
        <p:nvSpPr>
          <p:cNvPr id="4112" name="Rectangle 72"/>
          <p:cNvSpPr>
            <a:spLocks noChangeArrowheads="1"/>
          </p:cNvSpPr>
          <p:nvPr/>
        </p:nvSpPr>
        <p:spPr bwMode="auto">
          <a:xfrm>
            <a:off x="630000" y="2726695"/>
            <a:ext cx="1574534" cy="939295"/>
          </a:xfrm>
          <a:prstGeom prst="rect">
            <a:avLst/>
          </a:prstGeom>
          <a:solidFill>
            <a:srgbClr val="C8C8C8"/>
          </a:solidFill>
          <a:ln w="9525" cap="flat" cmpd="sng" algn="ctr">
            <a:noFill/>
            <a:prstDash val="solid"/>
            <a:miter lim="800000"/>
            <a:headEnd type="none" w="lg" len="lg"/>
            <a:tailEnd type="none" w="lg" len="lg"/>
          </a:ln>
          <a:extLst>
            <a:ext uri="{91240B29-F687-4F45-9708-019B960494DF}">
              <a14:hiddenLine xmlns:a14="http://schemas.microsoft.com/office/drawing/2010/main" w="9525" cap="flat" cmpd="sng" algn="ctr">
                <a:solidFill>
                  <a:srgbClr val="E71C57"/>
                </a:solidFill>
                <a:prstDash val="solid"/>
                <a:miter lim="800000"/>
                <a:headEnd type="none" w="lg" len="lg"/>
                <a:tailEnd type="none" w="lg" len="lg"/>
              </a14:hiddenLine>
            </a:ext>
          </a:extLst>
        </p:spPr>
        <p:txBody>
          <a:bodyPr wrap="none"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en-US" altLang="fr-FR" dirty="0">
                <a:solidFill>
                  <a:schemeClr val="tx1">
                    <a:lumMod val="100000"/>
                  </a:schemeClr>
                </a:solidFill>
                <a:latin typeface="+mn-lt"/>
              </a:rPr>
              <a:t>Content</a:t>
            </a:r>
          </a:p>
        </p:txBody>
      </p:sp>
      <p:sp>
        <p:nvSpPr>
          <p:cNvPr id="4113" name="Rectangle 73"/>
          <p:cNvSpPr>
            <a:spLocks noChangeArrowheads="1"/>
          </p:cNvSpPr>
          <p:nvPr/>
        </p:nvSpPr>
        <p:spPr bwMode="auto">
          <a:xfrm>
            <a:off x="630000" y="4818529"/>
            <a:ext cx="1574534" cy="1327108"/>
          </a:xfrm>
          <a:prstGeom prst="rect">
            <a:avLst/>
          </a:prstGeom>
          <a:solidFill>
            <a:srgbClr val="C8C8C8"/>
          </a:solidFill>
          <a:ln w="9525" cap="flat" cmpd="sng" algn="ctr">
            <a:noFill/>
            <a:prstDash val="solid"/>
            <a:miter lim="800000"/>
            <a:headEnd type="none" w="lg" len="lg"/>
            <a:tailEnd type="none" w="lg" len="lg"/>
          </a:ln>
          <a:extLst>
            <a:ext uri="{91240B29-F687-4F45-9708-019B960494DF}">
              <a14:hiddenLine xmlns:a14="http://schemas.microsoft.com/office/drawing/2010/main" w="9525" cap="flat" cmpd="sng" algn="ctr">
                <a:solidFill>
                  <a:srgbClr val="E71C57"/>
                </a:solidFill>
                <a:prstDash val="solid"/>
                <a:miter lim="800000"/>
                <a:headEnd type="none" w="lg" len="lg"/>
                <a:tailEnd type="none" w="lg" len="lg"/>
              </a14:hiddenLine>
            </a:ext>
          </a:extLst>
        </p:spPr>
        <p:txBody>
          <a:bodyPr wrap="none"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pPr>
            <a:r>
              <a:rPr lang="en-US" altLang="fr-FR" dirty="0">
                <a:solidFill>
                  <a:schemeClr val="tx1">
                    <a:lumMod val="100000"/>
                  </a:schemeClr>
                </a:solidFill>
                <a:latin typeface="+mn-lt"/>
              </a:rPr>
              <a:t>Group work</a:t>
            </a:r>
          </a:p>
        </p:txBody>
      </p:sp>
      <p:sp>
        <p:nvSpPr>
          <p:cNvPr id="4114" name="Rectangle 87"/>
          <p:cNvSpPr>
            <a:spLocks noChangeArrowheads="1"/>
          </p:cNvSpPr>
          <p:nvPr/>
        </p:nvSpPr>
        <p:spPr bwMode="auto">
          <a:xfrm>
            <a:off x="2559956" y="4818528"/>
            <a:ext cx="2952022" cy="1327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a:no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en-US" altLang="fr-FR" dirty="0">
                <a:solidFill>
                  <a:schemeClr val="tx1">
                    <a:lumMod val="100000"/>
                  </a:schemeClr>
                </a:solidFill>
                <a:latin typeface="+mn-lt"/>
              </a:rPr>
              <a:t>To prepare for Case Team Meeting:</a:t>
            </a:r>
          </a:p>
          <a:p>
            <a:pPr marL="324000" lvl="1" indent="-216000" eaLnBrk="1" hangingPunct="1">
              <a:buClr>
                <a:schemeClr val="tx2">
                  <a:lumMod val="100000"/>
                </a:schemeClr>
              </a:buClr>
              <a:buSzPct val="100000"/>
              <a:buFont typeface="Trebuchet MS" panose="020B0703020202090204" pitchFamily="34" charset="0"/>
              <a:buChar char="•"/>
            </a:pPr>
            <a:r>
              <a:rPr lang="en-US" altLang="fr-FR" b="0" dirty="0">
                <a:solidFill>
                  <a:schemeClr val="tx1">
                    <a:lumMod val="100000"/>
                  </a:schemeClr>
                </a:solidFill>
                <a:latin typeface="+mn-lt"/>
              </a:rPr>
              <a:t>List of 8-10 selected use-cases</a:t>
            </a:r>
          </a:p>
          <a:p>
            <a:pPr marL="324000" lvl="1" indent="-216000" eaLnBrk="1" hangingPunct="1">
              <a:buClr>
                <a:schemeClr val="tx2">
                  <a:lumMod val="100000"/>
                </a:schemeClr>
              </a:buClr>
              <a:buSzPct val="100000"/>
              <a:buFont typeface="Trebuchet MS" panose="020B0703020202090204" pitchFamily="34" charset="0"/>
              <a:buChar char="•"/>
            </a:pPr>
            <a:r>
              <a:rPr lang="en-US" altLang="fr-FR" b="0" dirty="0">
                <a:solidFill>
                  <a:schemeClr val="tx1">
                    <a:lumMod val="100000"/>
                  </a:schemeClr>
                </a:solidFill>
                <a:latin typeface="+mn-lt"/>
              </a:rPr>
              <a:t>Proposed prioritization of use cases</a:t>
            </a:r>
          </a:p>
          <a:p>
            <a:pPr marL="324000" lvl="1" indent="-216000" eaLnBrk="1" hangingPunct="1">
              <a:buClr>
                <a:schemeClr val="tx2">
                  <a:lumMod val="100000"/>
                </a:schemeClr>
              </a:buClr>
              <a:buSzPct val="100000"/>
              <a:buFont typeface="Trebuchet MS" panose="020B0703020202090204" pitchFamily="34" charset="0"/>
              <a:buChar char="•"/>
            </a:pPr>
            <a:r>
              <a:rPr lang="en-US" altLang="fr-FR" b="0" dirty="0">
                <a:solidFill>
                  <a:schemeClr val="tx1">
                    <a:lumMod val="100000"/>
                  </a:schemeClr>
                </a:solidFill>
                <a:latin typeface="+mn-lt"/>
              </a:rPr>
              <a:t>Selection of focus use case</a:t>
            </a:r>
            <a:endParaRPr lang="en-US" altLang="fr-FR" dirty="0">
              <a:solidFill>
                <a:schemeClr val="tx1">
                  <a:lumMod val="100000"/>
                </a:schemeClr>
              </a:solidFill>
              <a:latin typeface="+mn-lt"/>
            </a:endParaRPr>
          </a:p>
        </p:txBody>
      </p:sp>
      <p:sp>
        <p:nvSpPr>
          <p:cNvPr id="4115" name="Line 95"/>
          <p:cNvSpPr>
            <a:spLocks noChangeShapeType="1"/>
          </p:cNvSpPr>
          <p:nvPr/>
        </p:nvSpPr>
        <p:spPr bwMode="auto">
          <a:xfrm>
            <a:off x="630001" y="2599462"/>
            <a:ext cx="10787867" cy="0"/>
          </a:xfrm>
          <a:prstGeom prst="line">
            <a:avLst/>
          </a:prstGeom>
          <a:noFill/>
          <a:ln w="9525" cap="flat" cmpd="sng" algn="ctr">
            <a:solidFill>
              <a:srgbClr val="6E6F73"/>
            </a:solidFill>
            <a:prstDash val="dash"/>
            <a:round/>
            <a:headEnd type="none" w="lg" len="lg"/>
            <a:tailEnd type="none" w="lg" len="lg"/>
          </a:ln>
          <a:extLst>
            <a:ext uri="{909E8E84-426E-40DD-AFC4-6F175D3DCCD1}">
              <a14:hiddenFill xmlns:a14="http://schemas.microsoft.com/office/drawing/2010/main">
                <a:noFill/>
              </a14:hiddenFill>
            </a:ext>
          </a:extLst>
        </p:spPr>
        <p:txBody>
          <a:bodyPr anchor="ctr"/>
          <a:lstStyle/>
          <a:p>
            <a:endParaRPr lang="en-US" dirty="0"/>
          </a:p>
        </p:txBody>
      </p:sp>
      <p:sp>
        <p:nvSpPr>
          <p:cNvPr id="4116" name="Line 97"/>
          <p:cNvSpPr>
            <a:spLocks noChangeShapeType="1"/>
          </p:cNvSpPr>
          <p:nvPr/>
        </p:nvSpPr>
        <p:spPr bwMode="auto">
          <a:xfrm>
            <a:off x="630000" y="4691295"/>
            <a:ext cx="10787867" cy="0"/>
          </a:xfrm>
          <a:prstGeom prst="line">
            <a:avLst/>
          </a:prstGeom>
          <a:noFill/>
          <a:ln w="9525" cap="flat" cmpd="sng" algn="ctr">
            <a:solidFill>
              <a:srgbClr val="6E6F73"/>
            </a:solidFill>
            <a:prstDash val="dash"/>
            <a:round/>
            <a:headEnd type="none" w="lg" len="lg"/>
            <a:tailEnd type="none" w="lg" len="lg"/>
          </a:ln>
          <a:extLst>
            <a:ext uri="{909E8E84-426E-40DD-AFC4-6F175D3DCCD1}">
              <a14:hiddenFill xmlns:a14="http://schemas.microsoft.com/office/drawing/2010/main">
                <a:noFill/>
              </a14:hiddenFill>
            </a:ext>
          </a:extLst>
        </p:spPr>
        <p:txBody>
          <a:bodyPr anchor="ctr"/>
          <a:lstStyle/>
          <a:p>
            <a:endParaRPr lang="en-US" dirty="0"/>
          </a:p>
        </p:txBody>
      </p:sp>
      <p:sp>
        <p:nvSpPr>
          <p:cNvPr id="22" name="Rectangle 87">
            <a:extLst>
              <a:ext uri="{FF2B5EF4-FFF2-40B4-BE49-F238E27FC236}">
                <a16:creationId xmlns:a16="http://schemas.microsoft.com/office/drawing/2014/main" id="{3BF0D8DC-9088-574A-BF11-60BF7F3BC4CD}"/>
              </a:ext>
            </a:extLst>
          </p:cNvPr>
          <p:cNvSpPr>
            <a:spLocks noChangeArrowheads="1"/>
          </p:cNvSpPr>
          <p:nvPr/>
        </p:nvSpPr>
        <p:spPr bwMode="auto">
          <a:xfrm>
            <a:off x="5511980" y="4546154"/>
            <a:ext cx="2952022" cy="1907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a:no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endParaRPr lang="en-US" altLang="fr-FR" dirty="0">
              <a:solidFill>
                <a:schemeClr val="tx1">
                  <a:lumMod val="100000"/>
                </a:schemeClr>
              </a:solidFill>
              <a:latin typeface="+mn-lt"/>
            </a:endParaRPr>
          </a:p>
        </p:txBody>
      </p:sp>
      <p:sp>
        <p:nvSpPr>
          <p:cNvPr id="23" name="Rectangle 87">
            <a:extLst>
              <a:ext uri="{FF2B5EF4-FFF2-40B4-BE49-F238E27FC236}">
                <a16:creationId xmlns:a16="http://schemas.microsoft.com/office/drawing/2014/main" id="{E6D77D93-F412-3540-94DB-AFD6908B418A}"/>
              </a:ext>
            </a:extLst>
          </p:cNvPr>
          <p:cNvSpPr>
            <a:spLocks noChangeArrowheads="1"/>
          </p:cNvSpPr>
          <p:nvPr/>
        </p:nvSpPr>
        <p:spPr bwMode="auto">
          <a:xfrm>
            <a:off x="5511980" y="4818528"/>
            <a:ext cx="2952022" cy="1327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a:no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marL="324000" lvl="1" indent="-216000" eaLnBrk="1" hangingPunct="1">
              <a:buClr>
                <a:schemeClr val="tx2">
                  <a:lumMod val="100000"/>
                </a:schemeClr>
              </a:buClr>
              <a:buSzPct val="100000"/>
              <a:buFont typeface="Trebuchet MS" panose="020B0703020202090204" pitchFamily="34" charset="0"/>
              <a:buChar char="•"/>
            </a:pPr>
            <a:r>
              <a:rPr lang="en-US" altLang="fr-FR" dirty="0">
                <a:solidFill>
                  <a:schemeClr val="tx1">
                    <a:lumMod val="100000"/>
                  </a:schemeClr>
                </a:solidFill>
                <a:latin typeface="+mn-lt"/>
              </a:rPr>
              <a:t>Focus use case data science model</a:t>
            </a:r>
          </a:p>
          <a:p>
            <a:pPr marL="324000" lvl="1" indent="-216000" eaLnBrk="1" hangingPunct="1">
              <a:buClr>
                <a:schemeClr val="tx2">
                  <a:lumMod val="100000"/>
                </a:schemeClr>
              </a:buClr>
              <a:buSzPct val="100000"/>
              <a:buFont typeface="Trebuchet MS" panose="020B0703020202090204" pitchFamily="34" charset="0"/>
              <a:buChar char="•"/>
            </a:pPr>
            <a:r>
              <a:rPr lang="en-US" altLang="fr-FR" dirty="0">
                <a:solidFill>
                  <a:schemeClr val="tx1">
                    <a:lumMod val="100000"/>
                  </a:schemeClr>
                </a:solidFill>
                <a:latin typeface="+mn-lt"/>
              </a:rPr>
              <a:t>Implementation roadmap</a:t>
            </a:r>
          </a:p>
          <a:p>
            <a:pPr marL="324000" lvl="1" indent="-216000" eaLnBrk="1" hangingPunct="1">
              <a:buClr>
                <a:schemeClr val="tx2">
                  <a:lumMod val="100000"/>
                </a:schemeClr>
              </a:buClr>
              <a:buSzPct val="100000"/>
              <a:buFont typeface="Trebuchet MS" panose="020B0703020202090204" pitchFamily="34" charset="0"/>
              <a:buChar char="•"/>
            </a:pPr>
            <a:r>
              <a:rPr lang="en-US" altLang="fr-FR" dirty="0">
                <a:solidFill>
                  <a:schemeClr val="tx1">
                    <a:lumMod val="100000"/>
                  </a:schemeClr>
                </a:solidFill>
                <a:latin typeface="+mn-lt"/>
              </a:rPr>
              <a:t>Budget &amp; resources for 2020</a:t>
            </a:r>
          </a:p>
          <a:p>
            <a:pPr marL="324000" lvl="1" indent="-216000" eaLnBrk="1" hangingPunct="1">
              <a:buClr>
                <a:schemeClr val="tx2">
                  <a:lumMod val="100000"/>
                </a:schemeClr>
              </a:buClr>
              <a:buSzPct val="100000"/>
              <a:buFont typeface="Trebuchet MS" panose="020B0703020202090204" pitchFamily="34" charset="0"/>
              <a:buChar char="•"/>
            </a:pPr>
            <a:endParaRPr lang="en-US" altLang="fr-FR" dirty="0">
              <a:solidFill>
                <a:schemeClr val="tx1">
                  <a:lumMod val="100000"/>
                </a:schemeClr>
              </a:solidFill>
              <a:latin typeface="+mn-lt"/>
            </a:endParaRPr>
          </a:p>
        </p:txBody>
      </p:sp>
      <p:sp>
        <p:nvSpPr>
          <p:cNvPr id="24" name="Rectangle 41">
            <a:extLst>
              <a:ext uri="{FF2B5EF4-FFF2-40B4-BE49-F238E27FC236}">
                <a16:creationId xmlns:a16="http://schemas.microsoft.com/office/drawing/2014/main" id="{2B9E0E8A-278B-4A2B-8CBD-75A8840B5835}"/>
              </a:ext>
            </a:extLst>
          </p:cNvPr>
          <p:cNvSpPr>
            <a:spLocks noChangeArrowheads="1"/>
          </p:cNvSpPr>
          <p:nvPr/>
        </p:nvSpPr>
        <p:spPr bwMode="auto">
          <a:xfrm>
            <a:off x="2558114" y="2089094"/>
            <a:ext cx="2953865"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none"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en-US" altLang="fr-FR" dirty="0">
                <a:solidFill>
                  <a:srgbClr val="575757"/>
                </a:solidFill>
                <a:latin typeface="+mn-lt"/>
              </a:rPr>
              <a:t>8 Feb, 9h40-16h </a:t>
            </a:r>
            <a:br>
              <a:rPr lang="en-US" altLang="fr-FR" dirty="0">
                <a:solidFill>
                  <a:srgbClr val="575757"/>
                </a:solidFill>
                <a:latin typeface="+mn-lt"/>
              </a:rPr>
            </a:br>
            <a:r>
              <a:rPr lang="en-US" altLang="fr-FR" dirty="0" err="1">
                <a:solidFill>
                  <a:srgbClr val="575757"/>
                </a:solidFill>
                <a:latin typeface="+mn-lt"/>
              </a:rPr>
              <a:t>HEC</a:t>
            </a:r>
            <a:r>
              <a:rPr lang="en-US" altLang="fr-FR" dirty="0">
                <a:solidFill>
                  <a:srgbClr val="575757"/>
                </a:solidFill>
                <a:latin typeface="+mn-lt"/>
              </a:rPr>
              <a:t> Paris</a:t>
            </a:r>
          </a:p>
        </p:txBody>
      </p:sp>
      <p:sp>
        <p:nvSpPr>
          <p:cNvPr id="25" name="Rectangle 47">
            <a:extLst>
              <a:ext uri="{FF2B5EF4-FFF2-40B4-BE49-F238E27FC236}">
                <a16:creationId xmlns:a16="http://schemas.microsoft.com/office/drawing/2014/main" id="{845F558E-63DD-410C-BF87-973EA033B0D6}"/>
              </a:ext>
            </a:extLst>
          </p:cNvPr>
          <p:cNvSpPr>
            <a:spLocks noChangeArrowheads="1"/>
          </p:cNvSpPr>
          <p:nvPr/>
        </p:nvSpPr>
        <p:spPr bwMode="auto">
          <a:xfrm>
            <a:off x="5511980" y="2089094"/>
            <a:ext cx="2950182"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none"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en-US" altLang="fr-FR" dirty="0">
                <a:solidFill>
                  <a:srgbClr val="575757"/>
                </a:solidFill>
                <a:latin typeface="+mn-lt"/>
              </a:rPr>
              <a:t>9 Feb, 9h40-16h</a:t>
            </a:r>
            <a:br>
              <a:rPr lang="en-US" altLang="fr-FR" dirty="0">
                <a:solidFill>
                  <a:srgbClr val="575757"/>
                </a:solidFill>
                <a:latin typeface="+mn-lt"/>
              </a:rPr>
            </a:br>
            <a:r>
              <a:rPr lang="en-US" altLang="fr-FR" dirty="0" err="1">
                <a:solidFill>
                  <a:srgbClr val="575757"/>
                </a:solidFill>
                <a:latin typeface="+mn-lt"/>
              </a:rPr>
              <a:t>HEC</a:t>
            </a:r>
            <a:r>
              <a:rPr lang="en-US" altLang="fr-FR" dirty="0">
                <a:solidFill>
                  <a:srgbClr val="575757"/>
                </a:solidFill>
                <a:latin typeface="+mn-lt"/>
              </a:rPr>
              <a:t> Paris</a:t>
            </a:r>
          </a:p>
        </p:txBody>
      </p:sp>
      <p:sp>
        <p:nvSpPr>
          <p:cNvPr id="26" name="Rectangle 61">
            <a:extLst>
              <a:ext uri="{FF2B5EF4-FFF2-40B4-BE49-F238E27FC236}">
                <a16:creationId xmlns:a16="http://schemas.microsoft.com/office/drawing/2014/main" id="{E8814A5E-06EB-4C6A-96EE-E8EA19FE648B}"/>
              </a:ext>
            </a:extLst>
          </p:cNvPr>
          <p:cNvSpPr>
            <a:spLocks noChangeArrowheads="1"/>
          </p:cNvSpPr>
          <p:nvPr/>
        </p:nvSpPr>
        <p:spPr bwMode="auto">
          <a:xfrm>
            <a:off x="8464004" y="2089094"/>
            <a:ext cx="2950182"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none"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en-US" altLang="fr-FR" dirty="0">
                <a:solidFill>
                  <a:srgbClr val="575757"/>
                </a:solidFill>
                <a:latin typeface="+mn-lt"/>
              </a:rPr>
              <a:t>10 Feb, 9h40-16h</a:t>
            </a:r>
          </a:p>
          <a:p>
            <a:pPr eaLnBrk="1" hangingPunct="1">
              <a:buSzPct val="100000"/>
              <a:buFont typeface="Trebuchet MS" panose="020B0603020202020204" pitchFamily="34" charset="0"/>
              <a:buChar char="​"/>
            </a:pPr>
            <a:r>
              <a:rPr lang="en-US" altLang="fr-FR" dirty="0" err="1">
                <a:solidFill>
                  <a:srgbClr val="575757"/>
                </a:solidFill>
                <a:latin typeface="+mn-lt"/>
              </a:rPr>
              <a:t>HEC</a:t>
            </a:r>
            <a:r>
              <a:rPr lang="en-US" altLang="fr-FR" dirty="0">
                <a:solidFill>
                  <a:srgbClr val="575757"/>
                </a:solidFill>
                <a:latin typeface="+mn-lt"/>
              </a:rPr>
              <a:t> Paris</a:t>
            </a:r>
          </a:p>
        </p:txBody>
      </p:sp>
      <p:sp>
        <p:nvSpPr>
          <p:cNvPr id="27" name="Rectangle 72">
            <a:extLst>
              <a:ext uri="{FF2B5EF4-FFF2-40B4-BE49-F238E27FC236}">
                <a16:creationId xmlns:a16="http://schemas.microsoft.com/office/drawing/2014/main" id="{5BD00D0B-5200-4330-9628-74E3BE65BF7D}"/>
              </a:ext>
            </a:extLst>
          </p:cNvPr>
          <p:cNvSpPr>
            <a:spLocks noChangeArrowheads="1"/>
          </p:cNvSpPr>
          <p:nvPr/>
        </p:nvSpPr>
        <p:spPr bwMode="auto">
          <a:xfrm>
            <a:off x="630000" y="3837948"/>
            <a:ext cx="1574534" cy="777662"/>
          </a:xfrm>
          <a:prstGeom prst="rect">
            <a:avLst/>
          </a:prstGeom>
          <a:solidFill>
            <a:srgbClr val="C8C8C8"/>
          </a:solidFill>
          <a:ln w="9525" cap="flat" cmpd="sng" algn="ctr">
            <a:noFill/>
            <a:prstDash val="solid"/>
            <a:miter lim="800000"/>
            <a:headEnd type="none" w="lg" len="lg"/>
            <a:tailEnd type="none" w="lg" len="lg"/>
          </a:ln>
          <a:extLst>
            <a:ext uri="{91240B29-F687-4F45-9708-019B960494DF}">
              <a14:hiddenLine xmlns:a14="http://schemas.microsoft.com/office/drawing/2010/main" w="9525" cap="flat" cmpd="sng" algn="ctr">
                <a:solidFill>
                  <a:srgbClr val="E71C57"/>
                </a:solidFill>
                <a:prstDash val="solid"/>
                <a:miter lim="800000"/>
                <a:headEnd type="none" w="lg" len="lg"/>
                <a:tailEnd type="none" w="lg" len="lg"/>
              </a14:hiddenLine>
            </a:ext>
          </a:extLst>
        </p:spPr>
        <p:txBody>
          <a:bodyPr wrap="none"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en-US" altLang="fr-FR" dirty="0">
                <a:solidFill>
                  <a:schemeClr val="tx1">
                    <a:lumMod val="100000"/>
                  </a:schemeClr>
                </a:solidFill>
                <a:latin typeface="+mn-lt"/>
              </a:rPr>
              <a:t>BCG Lectures</a:t>
            </a:r>
          </a:p>
        </p:txBody>
      </p:sp>
      <p:sp>
        <p:nvSpPr>
          <p:cNvPr id="28" name="Line 95">
            <a:extLst>
              <a:ext uri="{FF2B5EF4-FFF2-40B4-BE49-F238E27FC236}">
                <a16:creationId xmlns:a16="http://schemas.microsoft.com/office/drawing/2014/main" id="{97F3B093-87CE-448A-9647-CF5DF0E51E57}"/>
              </a:ext>
            </a:extLst>
          </p:cNvPr>
          <p:cNvSpPr>
            <a:spLocks noChangeShapeType="1"/>
          </p:cNvSpPr>
          <p:nvPr/>
        </p:nvSpPr>
        <p:spPr bwMode="auto">
          <a:xfrm>
            <a:off x="630001" y="3752826"/>
            <a:ext cx="10787867" cy="0"/>
          </a:xfrm>
          <a:prstGeom prst="line">
            <a:avLst/>
          </a:prstGeom>
          <a:noFill/>
          <a:ln w="9525" cap="flat" cmpd="sng" algn="ctr">
            <a:solidFill>
              <a:srgbClr val="6E6F73"/>
            </a:solidFill>
            <a:prstDash val="dash"/>
            <a:round/>
            <a:headEnd type="none" w="lg" len="lg"/>
            <a:tailEnd type="none" w="lg" len="lg"/>
          </a:ln>
          <a:extLst>
            <a:ext uri="{909E8E84-426E-40DD-AFC4-6F175D3DCCD1}">
              <a14:hiddenFill xmlns:a14="http://schemas.microsoft.com/office/drawing/2010/main">
                <a:noFill/>
              </a14:hiddenFill>
            </a:ext>
          </a:extLst>
        </p:spPr>
        <p:txBody>
          <a:bodyPr anchor="ctr"/>
          <a:lstStyle/>
          <a:p>
            <a:endParaRPr lang="en-US" dirty="0"/>
          </a:p>
        </p:txBody>
      </p:sp>
      <p:sp>
        <p:nvSpPr>
          <p:cNvPr id="30" name="Rectangle 30">
            <a:extLst>
              <a:ext uri="{FF2B5EF4-FFF2-40B4-BE49-F238E27FC236}">
                <a16:creationId xmlns:a16="http://schemas.microsoft.com/office/drawing/2014/main" id="{573AC0E1-B1C6-4CB5-A3E9-70804CCCB9ED}"/>
              </a:ext>
            </a:extLst>
          </p:cNvPr>
          <p:cNvSpPr>
            <a:spLocks noChangeArrowheads="1"/>
          </p:cNvSpPr>
          <p:nvPr/>
        </p:nvSpPr>
        <p:spPr bwMode="auto">
          <a:xfrm>
            <a:off x="5510600" y="3839662"/>
            <a:ext cx="295386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a:sp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marL="324000" lvl="1" indent="-216000" eaLnBrk="1" hangingPunct="1">
              <a:buClr>
                <a:schemeClr val="tx2">
                  <a:lumMod val="100000"/>
                </a:schemeClr>
              </a:buClr>
              <a:buSzPct val="100000"/>
              <a:buFont typeface="Trebuchet MS" panose="020B0603020202020204" pitchFamily="34" charset="0"/>
              <a:buChar char="•"/>
            </a:pPr>
            <a:r>
              <a:rPr lang="en-US" altLang="fr-FR" dirty="0">
                <a:solidFill>
                  <a:schemeClr val="tx1">
                    <a:lumMod val="100000"/>
                  </a:schemeClr>
                </a:solidFill>
                <a:latin typeface="Trebuchet MS" panose="020B0603020202020204" pitchFamily="34" charset="0"/>
              </a:rPr>
              <a:t>Best practice for working in multi disciplinary teams</a:t>
            </a:r>
          </a:p>
        </p:txBody>
      </p:sp>
      <p:sp>
        <p:nvSpPr>
          <p:cNvPr id="31" name="Rectangle 30">
            <a:extLst>
              <a:ext uri="{FF2B5EF4-FFF2-40B4-BE49-F238E27FC236}">
                <a16:creationId xmlns:a16="http://schemas.microsoft.com/office/drawing/2014/main" id="{4AE61A94-5739-4D9B-A93E-114E6256AAB8}"/>
              </a:ext>
            </a:extLst>
          </p:cNvPr>
          <p:cNvSpPr>
            <a:spLocks noChangeArrowheads="1"/>
          </p:cNvSpPr>
          <p:nvPr/>
        </p:nvSpPr>
        <p:spPr bwMode="auto">
          <a:xfrm>
            <a:off x="8462162" y="3839662"/>
            <a:ext cx="29538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a:sp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marL="324000" lvl="1" indent="-216000" eaLnBrk="1" hangingPunct="1">
              <a:buClr>
                <a:schemeClr val="tx2">
                  <a:lumMod val="100000"/>
                </a:schemeClr>
              </a:buClr>
              <a:buSzPct val="100000"/>
              <a:buFont typeface="Trebuchet MS" panose="020B0603020202020204" pitchFamily="34" charset="0"/>
              <a:buChar char="•"/>
            </a:pPr>
            <a:r>
              <a:rPr lang="en-US" altLang="fr-FR" dirty="0">
                <a:solidFill>
                  <a:schemeClr val="tx1">
                    <a:lumMod val="100000"/>
                  </a:schemeClr>
                </a:solidFill>
                <a:latin typeface="Trebuchet MS" panose="020B0603020202020204" pitchFamily="34" charset="0"/>
              </a:rPr>
              <a:t>Case study conclusion</a:t>
            </a:r>
          </a:p>
          <a:p>
            <a:pPr marL="648000" lvl="2" indent="-216000" eaLnBrk="1" hangingPunct="1">
              <a:buClr>
                <a:schemeClr val="tx2">
                  <a:lumMod val="100000"/>
                </a:schemeClr>
              </a:buClr>
              <a:buSzPct val="100000"/>
              <a:buFont typeface="Trebuchet MS" panose="020B0603020202020204" pitchFamily="34" charset="0"/>
              <a:buChar char="–"/>
            </a:pPr>
            <a:r>
              <a:rPr lang="en-US" altLang="fr-FR" dirty="0">
                <a:solidFill>
                  <a:schemeClr val="tx1">
                    <a:lumMod val="100000"/>
                  </a:schemeClr>
                </a:solidFill>
                <a:latin typeface="Trebuchet MS" panose="020B0603020202020204" pitchFamily="34" charset="0"/>
              </a:rPr>
              <a:t>Real Life Challenges,</a:t>
            </a:r>
          </a:p>
          <a:p>
            <a:pPr marL="648000" lvl="2" indent="-216000" eaLnBrk="1" hangingPunct="1">
              <a:buClr>
                <a:schemeClr val="tx2">
                  <a:lumMod val="100000"/>
                </a:schemeClr>
              </a:buClr>
              <a:buSzPct val="100000"/>
              <a:buFont typeface="Trebuchet MS" panose="020B0603020202020204" pitchFamily="34" charset="0"/>
              <a:buChar char="–"/>
            </a:pPr>
            <a:r>
              <a:rPr lang="en-US" altLang="fr-FR" dirty="0">
                <a:solidFill>
                  <a:schemeClr val="tx1">
                    <a:lumMod val="100000"/>
                  </a:schemeClr>
                </a:solidFill>
                <a:latin typeface="Trebuchet MS" panose="020B0603020202020204" pitchFamily="34" charset="0"/>
              </a:rPr>
              <a:t>Implementation and change management</a:t>
            </a:r>
          </a:p>
        </p:txBody>
      </p:sp>
    </p:spTree>
    <p:extLst>
      <p:ext uri="{BB962C8B-B14F-4D97-AF65-F5344CB8AC3E}">
        <p14:creationId xmlns:p14="http://schemas.microsoft.com/office/powerpoint/2010/main" val="2670435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0277" name="think-cell Slide" r:id="rId7" imgW="498" imgH="499" progId="TCLayout.ActiveDocument.1">
                  <p:embed/>
                </p:oleObj>
              </mc:Choice>
              <mc:Fallback>
                <p:oleObj name="think-cell Slide" r:id="rId7" imgW="498" imgH="499"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200" cy="470898"/>
          </a:xfrm>
        </p:spPr>
        <p:txBody>
          <a:bodyPr/>
          <a:lstStyle/>
          <a:p>
            <a:r>
              <a:rPr lang="en-US" dirty="0" err="1"/>
              <a:t>CTMs</a:t>
            </a:r>
            <a:r>
              <a:rPr lang="en-US" dirty="0"/>
              <a:t> team schedule (30' per team)</a:t>
            </a:r>
          </a:p>
        </p:txBody>
      </p:sp>
      <p:sp>
        <p:nvSpPr>
          <p:cNvPr id="42" name="IllustrativeStamp">
            <a:extLst>
              <a:ext uri="{FF2B5EF4-FFF2-40B4-BE49-F238E27FC236}">
                <a16:creationId xmlns:a16="http://schemas.microsoft.com/office/drawing/2014/main" id="{DF76B073-A162-43A7-B9CA-B94AA4C357AD}"/>
              </a:ext>
            </a:extLst>
          </p:cNvPr>
          <p:cNvSpPr/>
          <p:nvPr/>
        </p:nvSpPr>
        <p:spPr>
          <a:xfrm>
            <a:off x="630000" y="1403932"/>
            <a:ext cx="1712365" cy="293467"/>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l"/>
            <a:r>
              <a:rPr lang="en-US" sz="1400" dirty="0">
                <a:solidFill>
                  <a:schemeClr val="bg1"/>
                </a:solidFill>
              </a:rPr>
              <a:t>Tuesday 9 February</a:t>
            </a:r>
          </a:p>
        </p:txBody>
      </p:sp>
      <p:sp>
        <p:nvSpPr>
          <p:cNvPr id="58" name="ee4pHeader1">
            <a:extLst>
              <a:ext uri="{FF2B5EF4-FFF2-40B4-BE49-F238E27FC236}">
                <a16:creationId xmlns:a16="http://schemas.microsoft.com/office/drawing/2014/main" id="{DA1879AA-23BB-4A58-8EC8-76B4D35032E9}"/>
              </a:ext>
            </a:extLst>
          </p:cNvPr>
          <p:cNvSpPr txBox="1"/>
          <p:nvPr/>
        </p:nvSpPr>
        <p:spPr>
          <a:xfrm>
            <a:off x="4628759" y="1871736"/>
            <a:ext cx="1947672" cy="307777"/>
          </a:xfrm>
          <a:prstGeom prst="rect">
            <a:avLst/>
          </a:prstGeom>
          <a:noFill/>
          <a:ln cap="rnd">
            <a:noFill/>
          </a:ln>
        </p:spPr>
        <p:txBody>
          <a:bodyPr wrap="square" lIns="0" tIns="0" rIns="0" bIns="0" rtlCol="0" anchor="b" anchorCtr="0">
            <a:spAutoFit/>
          </a:bodyPr>
          <a:lstStyle/>
          <a:p>
            <a:pPr marL="0" lvl="3"/>
            <a:r>
              <a:rPr lang="en-US" sz="2000" dirty="0">
                <a:solidFill>
                  <a:schemeClr val="tx2"/>
                </a:solidFill>
              </a:rPr>
              <a:t>Teams</a:t>
            </a:r>
          </a:p>
        </p:txBody>
      </p:sp>
      <p:sp>
        <p:nvSpPr>
          <p:cNvPr id="62" name="ee4pHeader5">
            <a:extLst>
              <a:ext uri="{FF2B5EF4-FFF2-40B4-BE49-F238E27FC236}">
                <a16:creationId xmlns:a16="http://schemas.microsoft.com/office/drawing/2014/main" id="{58BB993C-5DDE-4D72-A460-047F8EE587DC}"/>
              </a:ext>
            </a:extLst>
          </p:cNvPr>
          <p:cNvSpPr txBox="1"/>
          <p:nvPr/>
        </p:nvSpPr>
        <p:spPr>
          <a:xfrm>
            <a:off x="9101712" y="1563960"/>
            <a:ext cx="1947671" cy="615553"/>
          </a:xfrm>
          <a:prstGeom prst="rect">
            <a:avLst/>
          </a:prstGeom>
          <a:noFill/>
          <a:ln cap="rnd">
            <a:noFill/>
          </a:ln>
        </p:spPr>
        <p:txBody>
          <a:bodyPr wrap="square" lIns="0" tIns="0" rIns="0" bIns="0" rtlCol="0" anchor="b" anchorCtr="0">
            <a:spAutoFit/>
          </a:bodyPr>
          <a:lstStyle/>
          <a:p>
            <a:pPr marL="0" lvl="3"/>
            <a:r>
              <a:rPr lang="en-US" sz="2000" dirty="0">
                <a:solidFill>
                  <a:schemeClr val="tx2"/>
                </a:solidFill>
              </a:rPr>
              <a:t>BCG tutoring team involved</a:t>
            </a:r>
          </a:p>
        </p:txBody>
      </p:sp>
      <p:sp>
        <p:nvSpPr>
          <p:cNvPr id="64" name="ee4pHeader1">
            <a:extLst>
              <a:ext uri="{FF2B5EF4-FFF2-40B4-BE49-F238E27FC236}">
                <a16:creationId xmlns:a16="http://schemas.microsoft.com/office/drawing/2014/main" id="{E1A41001-A3B7-444D-8B01-455BAE415357}"/>
              </a:ext>
            </a:extLst>
          </p:cNvPr>
          <p:cNvSpPr txBox="1"/>
          <p:nvPr/>
        </p:nvSpPr>
        <p:spPr>
          <a:xfrm>
            <a:off x="4628759" y="2367141"/>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a:t>
            </a:r>
          </a:p>
        </p:txBody>
      </p:sp>
      <p:sp>
        <p:nvSpPr>
          <p:cNvPr id="74" name="ee4pHeader1">
            <a:extLst>
              <a:ext uri="{FF2B5EF4-FFF2-40B4-BE49-F238E27FC236}">
                <a16:creationId xmlns:a16="http://schemas.microsoft.com/office/drawing/2014/main" id="{05AE1273-4A32-47EE-815E-65D49363DACD}"/>
              </a:ext>
            </a:extLst>
          </p:cNvPr>
          <p:cNvSpPr txBox="1"/>
          <p:nvPr/>
        </p:nvSpPr>
        <p:spPr>
          <a:xfrm>
            <a:off x="9101711" y="2367141"/>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a:t>
            </a:r>
          </a:p>
        </p:txBody>
      </p:sp>
      <p:sp>
        <p:nvSpPr>
          <p:cNvPr id="65" name="ee4pHeader1">
            <a:extLst>
              <a:ext uri="{FF2B5EF4-FFF2-40B4-BE49-F238E27FC236}">
                <a16:creationId xmlns:a16="http://schemas.microsoft.com/office/drawing/2014/main" id="{563DC65C-3F77-4ECA-A41A-F2915EAAF62B}"/>
              </a:ext>
            </a:extLst>
          </p:cNvPr>
          <p:cNvSpPr txBox="1"/>
          <p:nvPr/>
        </p:nvSpPr>
        <p:spPr>
          <a:xfrm>
            <a:off x="4628759" y="2721050"/>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2</a:t>
            </a:r>
          </a:p>
        </p:txBody>
      </p:sp>
      <p:sp>
        <p:nvSpPr>
          <p:cNvPr id="75" name="ee4pHeader1">
            <a:extLst>
              <a:ext uri="{FF2B5EF4-FFF2-40B4-BE49-F238E27FC236}">
                <a16:creationId xmlns:a16="http://schemas.microsoft.com/office/drawing/2014/main" id="{22FC7044-8EF3-4C03-93D5-0F23CEC42394}"/>
              </a:ext>
            </a:extLst>
          </p:cNvPr>
          <p:cNvSpPr txBox="1"/>
          <p:nvPr/>
        </p:nvSpPr>
        <p:spPr>
          <a:xfrm>
            <a:off x="9101711" y="2721050"/>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2</a:t>
            </a:r>
          </a:p>
        </p:txBody>
      </p:sp>
      <p:sp>
        <p:nvSpPr>
          <p:cNvPr id="66" name="ee4pHeader1">
            <a:extLst>
              <a:ext uri="{FF2B5EF4-FFF2-40B4-BE49-F238E27FC236}">
                <a16:creationId xmlns:a16="http://schemas.microsoft.com/office/drawing/2014/main" id="{85514093-BDA1-43E0-AB09-AB91A433EB39}"/>
              </a:ext>
            </a:extLst>
          </p:cNvPr>
          <p:cNvSpPr txBox="1"/>
          <p:nvPr/>
        </p:nvSpPr>
        <p:spPr>
          <a:xfrm>
            <a:off x="4628759" y="3151869"/>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3</a:t>
            </a:r>
          </a:p>
        </p:txBody>
      </p:sp>
      <p:sp>
        <p:nvSpPr>
          <p:cNvPr id="76" name="ee4pHeader1">
            <a:extLst>
              <a:ext uri="{FF2B5EF4-FFF2-40B4-BE49-F238E27FC236}">
                <a16:creationId xmlns:a16="http://schemas.microsoft.com/office/drawing/2014/main" id="{33028367-014D-4919-B1AB-628578026185}"/>
              </a:ext>
            </a:extLst>
          </p:cNvPr>
          <p:cNvSpPr txBox="1"/>
          <p:nvPr/>
        </p:nvSpPr>
        <p:spPr>
          <a:xfrm>
            <a:off x="9101711" y="3151869"/>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a:t>
            </a:r>
          </a:p>
        </p:txBody>
      </p:sp>
      <p:sp>
        <p:nvSpPr>
          <p:cNvPr id="67" name="ee4pHeader1">
            <a:extLst>
              <a:ext uri="{FF2B5EF4-FFF2-40B4-BE49-F238E27FC236}">
                <a16:creationId xmlns:a16="http://schemas.microsoft.com/office/drawing/2014/main" id="{25FA145D-8960-42A6-8A7E-EF7449C49736}"/>
              </a:ext>
            </a:extLst>
          </p:cNvPr>
          <p:cNvSpPr txBox="1"/>
          <p:nvPr/>
        </p:nvSpPr>
        <p:spPr>
          <a:xfrm>
            <a:off x="4628759" y="3505778"/>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4</a:t>
            </a:r>
          </a:p>
        </p:txBody>
      </p:sp>
      <p:sp>
        <p:nvSpPr>
          <p:cNvPr id="77" name="ee4pHeader1">
            <a:extLst>
              <a:ext uri="{FF2B5EF4-FFF2-40B4-BE49-F238E27FC236}">
                <a16:creationId xmlns:a16="http://schemas.microsoft.com/office/drawing/2014/main" id="{DA5FC753-6714-4FC0-A619-879749788B24}"/>
              </a:ext>
            </a:extLst>
          </p:cNvPr>
          <p:cNvSpPr txBox="1"/>
          <p:nvPr/>
        </p:nvSpPr>
        <p:spPr>
          <a:xfrm>
            <a:off x="9101711" y="3505778"/>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2</a:t>
            </a:r>
          </a:p>
        </p:txBody>
      </p:sp>
      <p:sp>
        <p:nvSpPr>
          <p:cNvPr id="68" name="ee4pHeader1">
            <a:extLst>
              <a:ext uri="{FF2B5EF4-FFF2-40B4-BE49-F238E27FC236}">
                <a16:creationId xmlns:a16="http://schemas.microsoft.com/office/drawing/2014/main" id="{6CBD089C-A8E2-4EFA-A4C9-659C33DD422B}"/>
              </a:ext>
            </a:extLst>
          </p:cNvPr>
          <p:cNvSpPr txBox="1"/>
          <p:nvPr/>
        </p:nvSpPr>
        <p:spPr>
          <a:xfrm>
            <a:off x="4628759" y="3936597"/>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5</a:t>
            </a:r>
          </a:p>
        </p:txBody>
      </p:sp>
      <p:sp>
        <p:nvSpPr>
          <p:cNvPr id="78" name="ee4pHeader1">
            <a:extLst>
              <a:ext uri="{FF2B5EF4-FFF2-40B4-BE49-F238E27FC236}">
                <a16:creationId xmlns:a16="http://schemas.microsoft.com/office/drawing/2014/main" id="{C47617EF-7D8F-42DF-AD1F-FA355E4E9388}"/>
              </a:ext>
            </a:extLst>
          </p:cNvPr>
          <p:cNvSpPr txBox="1"/>
          <p:nvPr/>
        </p:nvSpPr>
        <p:spPr>
          <a:xfrm>
            <a:off x="9101711" y="3936597"/>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a:t>
            </a:r>
          </a:p>
        </p:txBody>
      </p:sp>
      <p:sp>
        <p:nvSpPr>
          <p:cNvPr id="69" name="ee4pHeader1">
            <a:extLst>
              <a:ext uri="{FF2B5EF4-FFF2-40B4-BE49-F238E27FC236}">
                <a16:creationId xmlns:a16="http://schemas.microsoft.com/office/drawing/2014/main" id="{1CAFFD1D-FBB7-45A2-8D65-FD854FB69480}"/>
              </a:ext>
            </a:extLst>
          </p:cNvPr>
          <p:cNvSpPr txBox="1"/>
          <p:nvPr/>
        </p:nvSpPr>
        <p:spPr>
          <a:xfrm>
            <a:off x="4628759" y="4290506"/>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6</a:t>
            </a:r>
          </a:p>
        </p:txBody>
      </p:sp>
      <p:sp>
        <p:nvSpPr>
          <p:cNvPr id="79" name="ee4pHeader1">
            <a:extLst>
              <a:ext uri="{FF2B5EF4-FFF2-40B4-BE49-F238E27FC236}">
                <a16:creationId xmlns:a16="http://schemas.microsoft.com/office/drawing/2014/main" id="{F06AF29C-0F4E-4DCD-8484-27B4544C9210}"/>
              </a:ext>
            </a:extLst>
          </p:cNvPr>
          <p:cNvSpPr txBox="1"/>
          <p:nvPr/>
        </p:nvSpPr>
        <p:spPr>
          <a:xfrm>
            <a:off x="9101711" y="4290506"/>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2</a:t>
            </a:r>
          </a:p>
        </p:txBody>
      </p:sp>
      <p:sp>
        <p:nvSpPr>
          <p:cNvPr id="70" name="ee4pHeader1">
            <a:extLst>
              <a:ext uri="{FF2B5EF4-FFF2-40B4-BE49-F238E27FC236}">
                <a16:creationId xmlns:a16="http://schemas.microsoft.com/office/drawing/2014/main" id="{7C5551CA-AEEF-4170-9489-1940007DDF0F}"/>
              </a:ext>
            </a:extLst>
          </p:cNvPr>
          <p:cNvSpPr txBox="1"/>
          <p:nvPr/>
        </p:nvSpPr>
        <p:spPr>
          <a:xfrm>
            <a:off x="4628759" y="4721325"/>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7</a:t>
            </a:r>
          </a:p>
        </p:txBody>
      </p:sp>
      <p:sp>
        <p:nvSpPr>
          <p:cNvPr id="80" name="ee4pHeader1">
            <a:extLst>
              <a:ext uri="{FF2B5EF4-FFF2-40B4-BE49-F238E27FC236}">
                <a16:creationId xmlns:a16="http://schemas.microsoft.com/office/drawing/2014/main" id="{E846DDBD-082E-43F8-B14B-E2A79B3D095A}"/>
              </a:ext>
            </a:extLst>
          </p:cNvPr>
          <p:cNvSpPr txBox="1"/>
          <p:nvPr/>
        </p:nvSpPr>
        <p:spPr>
          <a:xfrm>
            <a:off x="9101711" y="4721325"/>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a:t>
            </a:r>
          </a:p>
        </p:txBody>
      </p:sp>
      <p:sp>
        <p:nvSpPr>
          <p:cNvPr id="72" name="ee4pHeader1">
            <a:extLst>
              <a:ext uri="{FF2B5EF4-FFF2-40B4-BE49-F238E27FC236}">
                <a16:creationId xmlns:a16="http://schemas.microsoft.com/office/drawing/2014/main" id="{24A1CE12-7982-4002-AB98-986C45F2E65E}"/>
              </a:ext>
            </a:extLst>
          </p:cNvPr>
          <p:cNvSpPr txBox="1"/>
          <p:nvPr/>
        </p:nvSpPr>
        <p:spPr>
          <a:xfrm>
            <a:off x="4628759" y="5075234"/>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8</a:t>
            </a:r>
          </a:p>
        </p:txBody>
      </p:sp>
      <p:sp>
        <p:nvSpPr>
          <p:cNvPr id="81" name="ee4pHeader1">
            <a:extLst>
              <a:ext uri="{FF2B5EF4-FFF2-40B4-BE49-F238E27FC236}">
                <a16:creationId xmlns:a16="http://schemas.microsoft.com/office/drawing/2014/main" id="{3EB039EA-E9BE-4A72-AF20-B66C0770823A}"/>
              </a:ext>
            </a:extLst>
          </p:cNvPr>
          <p:cNvSpPr txBox="1"/>
          <p:nvPr/>
        </p:nvSpPr>
        <p:spPr>
          <a:xfrm>
            <a:off x="9101711" y="5075234"/>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2</a:t>
            </a:r>
          </a:p>
        </p:txBody>
      </p:sp>
      <p:sp>
        <p:nvSpPr>
          <p:cNvPr id="71" name="ee4pHeader1">
            <a:extLst>
              <a:ext uri="{FF2B5EF4-FFF2-40B4-BE49-F238E27FC236}">
                <a16:creationId xmlns:a16="http://schemas.microsoft.com/office/drawing/2014/main" id="{44E95022-FE06-4F96-87FB-EDD3609DAD84}"/>
              </a:ext>
            </a:extLst>
          </p:cNvPr>
          <p:cNvSpPr txBox="1"/>
          <p:nvPr/>
        </p:nvSpPr>
        <p:spPr>
          <a:xfrm>
            <a:off x="4628759" y="5506053"/>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9</a:t>
            </a:r>
          </a:p>
        </p:txBody>
      </p:sp>
      <p:sp>
        <p:nvSpPr>
          <p:cNvPr id="82" name="ee4pHeader1">
            <a:extLst>
              <a:ext uri="{FF2B5EF4-FFF2-40B4-BE49-F238E27FC236}">
                <a16:creationId xmlns:a16="http://schemas.microsoft.com/office/drawing/2014/main" id="{03F1DBFA-A20A-408C-BE10-7B87F4C6B19A}"/>
              </a:ext>
            </a:extLst>
          </p:cNvPr>
          <p:cNvSpPr txBox="1"/>
          <p:nvPr/>
        </p:nvSpPr>
        <p:spPr>
          <a:xfrm>
            <a:off x="9101711" y="5506053"/>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a:t>
            </a:r>
          </a:p>
        </p:txBody>
      </p:sp>
      <p:sp>
        <p:nvSpPr>
          <p:cNvPr id="73" name="ee4pHeader1">
            <a:extLst>
              <a:ext uri="{FF2B5EF4-FFF2-40B4-BE49-F238E27FC236}">
                <a16:creationId xmlns:a16="http://schemas.microsoft.com/office/drawing/2014/main" id="{FF490DD2-2DDC-4C5D-AB4F-44125E62A19B}"/>
              </a:ext>
            </a:extLst>
          </p:cNvPr>
          <p:cNvSpPr txBox="1"/>
          <p:nvPr/>
        </p:nvSpPr>
        <p:spPr>
          <a:xfrm>
            <a:off x="4628759" y="5859964"/>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0</a:t>
            </a:r>
          </a:p>
        </p:txBody>
      </p:sp>
      <p:sp>
        <p:nvSpPr>
          <p:cNvPr id="83" name="ee4pHeader1">
            <a:extLst>
              <a:ext uri="{FF2B5EF4-FFF2-40B4-BE49-F238E27FC236}">
                <a16:creationId xmlns:a16="http://schemas.microsoft.com/office/drawing/2014/main" id="{3115762F-DD50-4D82-B5B0-98229880D501}"/>
              </a:ext>
            </a:extLst>
          </p:cNvPr>
          <p:cNvSpPr txBox="1"/>
          <p:nvPr/>
        </p:nvSpPr>
        <p:spPr>
          <a:xfrm>
            <a:off x="9101711" y="5859964"/>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2</a:t>
            </a:r>
          </a:p>
        </p:txBody>
      </p:sp>
      <p:cxnSp>
        <p:nvCxnSpPr>
          <p:cNvPr id="6" name="Straight Connector 5">
            <a:extLst>
              <a:ext uri="{FF2B5EF4-FFF2-40B4-BE49-F238E27FC236}">
                <a16:creationId xmlns:a16="http://schemas.microsoft.com/office/drawing/2014/main" id="{76FE7E67-A2FD-4300-97F0-EA284A1E4539}"/>
              </a:ext>
            </a:extLst>
          </p:cNvPr>
          <p:cNvCxnSpPr/>
          <p:nvPr/>
        </p:nvCxnSpPr>
        <p:spPr>
          <a:xfrm>
            <a:off x="4553328" y="3859687"/>
            <a:ext cx="659664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94698F-0A89-4D60-9932-7FF7842570EA}"/>
              </a:ext>
            </a:extLst>
          </p:cNvPr>
          <p:cNvCxnSpPr/>
          <p:nvPr/>
        </p:nvCxnSpPr>
        <p:spPr>
          <a:xfrm>
            <a:off x="4553328" y="4644415"/>
            <a:ext cx="659664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36C7C4B-AF1F-4463-A6A1-9105F60E9CE0}"/>
              </a:ext>
            </a:extLst>
          </p:cNvPr>
          <p:cNvCxnSpPr/>
          <p:nvPr/>
        </p:nvCxnSpPr>
        <p:spPr>
          <a:xfrm>
            <a:off x="4553328" y="3074959"/>
            <a:ext cx="659664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57F2CDF-F51B-4378-8E62-72320C24C309}"/>
              </a:ext>
            </a:extLst>
          </p:cNvPr>
          <p:cNvCxnSpPr/>
          <p:nvPr/>
        </p:nvCxnSpPr>
        <p:spPr>
          <a:xfrm>
            <a:off x="4553328" y="5429143"/>
            <a:ext cx="659664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7" name="ee4pHeader5">
            <a:extLst>
              <a:ext uri="{FF2B5EF4-FFF2-40B4-BE49-F238E27FC236}">
                <a16:creationId xmlns:a16="http://schemas.microsoft.com/office/drawing/2014/main" id="{DCD827CF-E4B6-4B96-8FE4-993CAA09990F}"/>
              </a:ext>
            </a:extLst>
          </p:cNvPr>
          <p:cNvSpPr txBox="1"/>
          <p:nvPr/>
        </p:nvSpPr>
        <p:spPr>
          <a:xfrm>
            <a:off x="6341724" y="1871736"/>
            <a:ext cx="2363735" cy="307777"/>
          </a:xfrm>
          <a:prstGeom prst="rect">
            <a:avLst/>
          </a:prstGeom>
          <a:noFill/>
          <a:ln cap="rnd">
            <a:noFill/>
          </a:ln>
        </p:spPr>
        <p:txBody>
          <a:bodyPr wrap="square" lIns="0" tIns="0" rIns="0" bIns="0" rtlCol="0" anchor="b" anchorCtr="0">
            <a:spAutoFit/>
          </a:bodyPr>
          <a:lstStyle/>
          <a:p>
            <a:pPr marL="0" lvl="3"/>
            <a:r>
              <a:rPr lang="en-US" sz="2000" dirty="0">
                <a:solidFill>
                  <a:schemeClr val="tx2"/>
                </a:solidFill>
              </a:rPr>
              <a:t>Time</a:t>
            </a:r>
          </a:p>
        </p:txBody>
      </p:sp>
      <p:sp>
        <p:nvSpPr>
          <p:cNvPr id="43" name="ee4pHeader1">
            <a:extLst>
              <a:ext uri="{FF2B5EF4-FFF2-40B4-BE49-F238E27FC236}">
                <a16:creationId xmlns:a16="http://schemas.microsoft.com/office/drawing/2014/main" id="{C32E8B5C-37BC-43B7-96AC-2FA9AFA01E81}"/>
              </a:ext>
            </a:extLst>
          </p:cNvPr>
          <p:cNvSpPr txBox="1"/>
          <p:nvPr/>
        </p:nvSpPr>
        <p:spPr>
          <a:xfrm>
            <a:off x="6341724" y="2367141"/>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0h40 – 11h10</a:t>
            </a:r>
          </a:p>
        </p:txBody>
      </p:sp>
      <p:sp>
        <p:nvSpPr>
          <p:cNvPr id="44" name="ee4pHeader1">
            <a:extLst>
              <a:ext uri="{FF2B5EF4-FFF2-40B4-BE49-F238E27FC236}">
                <a16:creationId xmlns:a16="http://schemas.microsoft.com/office/drawing/2014/main" id="{D8F40198-B0CE-47EF-99E4-560CC95E792A}"/>
              </a:ext>
            </a:extLst>
          </p:cNvPr>
          <p:cNvSpPr txBox="1"/>
          <p:nvPr/>
        </p:nvSpPr>
        <p:spPr>
          <a:xfrm>
            <a:off x="6341724" y="2721050"/>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0h40 – 11h10</a:t>
            </a:r>
          </a:p>
        </p:txBody>
      </p:sp>
      <p:sp>
        <p:nvSpPr>
          <p:cNvPr id="45" name="ee4pHeader1">
            <a:extLst>
              <a:ext uri="{FF2B5EF4-FFF2-40B4-BE49-F238E27FC236}">
                <a16:creationId xmlns:a16="http://schemas.microsoft.com/office/drawing/2014/main" id="{551EE975-5D04-416E-BE62-74718124492B}"/>
              </a:ext>
            </a:extLst>
          </p:cNvPr>
          <p:cNvSpPr txBox="1"/>
          <p:nvPr/>
        </p:nvSpPr>
        <p:spPr>
          <a:xfrm>
            <a:off x="6341724" y="3151869"/>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1h10 – 11h40</a:t>
            </a:r>
          </a:p>
        </p:txBody>
      </p:sp>
      <p:sp>
        <p:nvSpPr>
          <p:cNvPr id="46" name="ee4pHeader1">
            <a:extLst>
              <a:ext uri="{FF2B5EF4-FFF2-40B4-BE49-F238E27FC236}">
                <a16:creationId xmlns:a16="http://schemas.microsoft.com/office/drawing/2014/main" id="{A29E397A-BB84-46FE-9D89-EE369980906C}"/>
              </a:ext>
            </a:extLst>
          </p:cNvPr>
          <p:cNvSpPr txBox="1"/>
          <p:nvPr/>
        </p:nvSpPr>
        <p:spPr>
          <a:xfrm>
            <a:off x="6341724" y="3505778"/>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1h10 – 11h40</a:t>
            </a:r>
          </a:p>
        </p:txBody>
      </p:sp>
      <p:sp>
        <p:nvSpPr>
          <p:cNvPr id="47" name="ee4pHeader1">
            <a:extLst>
              <a:ext uri="{FF2B5EF4-FFF2-40B4-BE49-F238E27FC236}">
                <a16:creationId xmlns:a16="http://schemas.microsoft.com/office/drawing/2014/main" id="{B35593CF-BF39-40B2-B3D0-449BD8EBF3AF}"/>
              </a:ext>
            </a:extLst>
          </p:cNvPr>
          <p:cNvSpPr txBox="1"/>
          <p:nvPr/>
        </p:nvSpPr>
        <p:spPr>
          <a:xfrm>
            <a:off x="6341724" y="3936597"/>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1h40 – 12h10</a:t>
            </a:r>
          </a:p>
        </p:txBody>
      </p:sp>
      <p:sp>
        <p:nvSpPr>
          <p:cNvPr id="48" name="ee4pHeader1">
            <a:extLst>
              <a:ext uri="{FF2B5EF4-FFF2-40B4-BE49-F238E27FC236}">
                <a16:creationId xmlns:a16="http://schemas.microsoft.com/office/drawing/2014/main" id="{6C3805F6-279C-47B8-93D8-447A8DC8893A}"/>
              </a:ext>
            </a:extLst>
          </p:cNvPr>
          <p:cNvSpPr txBox="1"/>
          <p:nvPr/>
        </p:nvSpPr>
        <p:spPr>
          <a:xfrm>
            <a:off x="6341724" y="4290506"/>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1h40 – 12h10</a:t>
            </a:r>
          </a:p>
        </p:txBody>
      </p:sp>
      <p:sp>
        <p:nvSpPr>
          <p:cNvPr id="49" name="ee4pHeader1">
            <a:extLst>
              <a:ext uri="{FF2B5EF4-FFF2-40B4-BE49-F238E27FC236}">
                <a16:creationId xmlns:a16="http://schemas.microsoft.com/office/drawing/2014/main" id="{AB1DBA0E-F4BB-426F-87A7-180426FA2CF5}"/>
              </a:ext>
            </a:extLst>
          </p:cNvPr>
          <p:cNvSpPr txBox="1"/>
          <p:nvPr/>
        </p:nvSpPr>
        <p:spPr>
          <a:xfrm>
            <a:off x="6341724" y="4721325"/>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2h10 – 12h40</a:t>
            </a:r>
          </a:p>
        </p:txBody>
      </p:sp>
      <p:sp>
        <p:nvSpPr>
          <p:cNvPr id="50" name="ee4pHeader1">
            <a:extLst>
              <a:ext uri="{FF2B5EF4-FFF2-40B4-BE49-F238E27FC236}">
                <a16:creationId xmlns:a16="http://schemas.microsoft.com/office/drawing/2014/main" id="{4966C4CC-9D98-4305-9A5D-171B26137A52}"/>
              </a:ext>
            </a:extLst>
          </p:cNvPr>
          <p:cNvSpPr txBox="1"/>
          <p:nvPr/>
        </p:nvSpPr>
        <p:spPr>
          <a:xfrm>
            <a:off x="6341724" y="5075234"/>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2h10 – 12h40</a:t>
            </a:r>
          </a:p>
        </p:txBody>
      </p:sp>
      <p:sp>
        <p:nvSpPr>
          <p:cNvPr id="51" name="ee4pHeader1">
            <a:extLst>
              <a:ext uri="{FF2B5EF4-FFF2-40B4-BE49-F238E27FC236}">
                <a16:creationId xmlns:a16="http://schemas.microsoft.com/office/drawing/2014/main" id="{9F7F2257-E76B-4D2F-BF47-10BFD52C0308}"/>
              </a:ext>
            </a:extLst>
          </p:cNvPr>
          <p:cNvSpPr txBox="1"/>
          <p:nvPr/>
        </p:nvSpPr>
        <p:spPr>
          <a:xfrm>
            <a:off x="6341724" y="5506053"/>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2h40 – 13h10</a:t>
            </a:r>
          </a:p>
        </p:txBody>
      </p:sp>
      <p:sp>
        <p:nvSpPr>
          <p:cNvPr id="52" name="ee4pHeader1">
            <a:extLst>
              <a:ext uri="{FF2B5EF4-FFF2-40B4-BE49-F238E27FC236}">
                <a16:creationId xmlns:a16="http://schemas.microsoft.com/office/drawing/2014/main" id="{8464EA9D-8B91-46C3-9452-A26482E49001}"/>
              </a:ext>
            </a:extLst>
          </p:cNvPr>
          <p:cNvSpPr txBox="1"/>
          <p:nvPr/>
        </p:nvSpPr>
        <p:spPr>
          <a:xfrm>
            <a:off x="6341724" y="5859964"/>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2h40 – 13h10</a:t>
            </a:r>
          </a:p>
        </p:txBody>
      </p:sp>
      <p:grpSp>
        <p:nvGrpSpPr>
          <p:cNvPr id="54" name="Group 53">
            <a:extLst>
              <a:ext uri="{FF2B5EF4-FFF2-40B4-BE49-F238E27FC236}">
                <a16:creationId xmlns:a16="http://schemas.microsoft.com/office/drawing/2014/main" id="{695200F3-37E7-4012-9CC8-499B33A24E08}"/>
              </a:ext>
            </a:extLst>
          </p:cNvPr>
          <p:cNvGrpSpPr/>
          <p:nvPr/>
        </p:nvGrpSpPr>
        <p:grpSpPr>
          <a:xfrm>
            <a:off x="3619191" y="2057882"/>
            <a:ext cx="306171" cy="4079081"/>
            <a:chOff x="5942914" y="2081213"/>
            <a:chExt cx="306171" cy="4079081"/>
          </a:xfrm>
        </p:grpSpPr>
        <p:cxnSp>
          <p:nvCxnSpPr>
            <p:cNvPr id="55" name="Straight Connector 54">
              <a:extLst>
                <a:ext uri="{FF2B5EF4-FFF2-40B4-BE49-F238E27FC236}">
                  <a16:creationId xmlns:a16="http://schemas.microsoft.com/office/drawing/2014/main" id="{761B5306-B6BC-4D3D-824F-4C03B96399EF}"/>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BCE10DBA-FDE5-43AE-994C-689B159052A3}"/>
                </a:ext>
              </a:extLst>
            </p:cNvPr>
            <p:cNvGrpSpPr/>
            <p:nvPr/>
          </p:nvGrpSpPr>
          <p:grpSpPr>
            <a:xfrm>
              <a:off x="5942914" y="3967299"/>
              <a:ext cx="306171" cy="306910"/>
              <a:chOff x="5937564" y="3833745"/>
              <a:chExt cx="306171" cy="306910"/>
            </a:xfrm>
          </p:grpSpPr>
          <p:sp>
            <p:nvSpPr>
              <p:cNvPr id="57" name="Freeform 94">
                <a:extLst>
                  <a:ext uri="{FF2B5EF4-FFF2-40B4-BE49-F238E27FC236}">
                    <a16:creationId xmlns:a16="http://schemas.microsoft.com/office/drawing/2014/main" id="{30EAFF85-9966-46AA-9A62-0DA6EF307259}"/>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59" name="Freeform 95">
                <a:extLst>
                  <a:ext uri="{FF2B5EF4-FFF2-40B4-BE49-F238E27FC236}">
                    <a16:creationId xmlns:a16="http://schemas.microsoft.com/office/drawing/2014/main" id="{6E38A311-F6C7-456A-A56B-3311625B301D}"/>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94" name="Group 93">
            <a:extLst>
              <a:ext uri="{FF2B5EF4-FFF2-40B4-BE49-F238E27FC236}">
                <a16:creationId xmlns:a16="http://schemas.microsoft.com/office/drawing/2014/main" id="{AE811454-F6E3-4AA5-960E-B0A3F42E5123}"/>
              </a:ext>
            </a:extLst>
          </p:cNvPr>
          <p:cNvGrpSpPr/>
          <p:nvPr/>
        </p:nvGrpSpPr>
        <p:grpSpPr>
          <a:xfrm>
            <a:off x="1261914" y="2367141"/>
            <a:ext cx="1472142" cy="3460563"/>
            <a:chOff x="1385598" y="2367141"/>
            <a:chExt cx="1472142" cy="3460563"/>
          </a:xfrm>
        </p:grpSpPr>
        <p:sp>
          <p:nvSpPr>
            <p:cNvPr id="95" name="Oval 94">
              <a:extLst>
                <a:ext uri="{FF2B5EF4-FFF2-40B4-BE49-F238E27FC236}">
                  <a16:creationId xmlns:a16="http://schemas.microsoft.com/office/drawing/2014/main" id="{33AC6848-63E2-4941-B7A6-B91D3C34489D}"/>
                </a:ext>
              </a:extLst>
            </p:cNvPr>
            <p:cNvSpPr/>
            <p:nvPr/>
          </p:nvSpPr>
          <p:spPr>
            <a:xfrm>
              <a:off x="1385598" y="2367141"/>
              <a:ext cx="1472142" cy="1472142"/>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3600" kern="0" dirty="0">
                  <a:solidFill>
                    <a:schemeClr val="bg1">
                      <a:lumMod val="50000"/>
                    </a:schemeClr>
                  </a:solidFill>
                </a:rPr>
                <a:t>10</a:t>
              </a:r>
              <a:r>
                <a:rPr lang="en-US" sz="3200" kern="0" dirty="0">
                  <a:solidFill>
                    <a:schemeClr val="bg1">
                      <a:lumMod val="50000"/>
                    </a:schemeClr>
                  </a:solidFill>
                </a:rPr>
                <a:t> </a:t>
              </a:r>
              <a:r>
                <a:rPr lang="en-US" sz="2000" kern="0" dirty="0">
                  <a:solidFill>
                    <a:schemeClr val="bg1">
                      <a:lumMod val="50000"/>
                    </a:schemeClr>
                  </a:solidFill>
                </a:rPr>
                <a:t>teams</a:t>
              </a:r>
              <a:endParaRPr lang="en-US" sz="2400" kern="0" dirty="0">
                <a:solidFill>
                  <a:schemeClr val="bg1">
                    <a:lumMod val="50000"/>
                  </a:schemeClr>
                </a:solidFill>
              </a:endParaRPr>
            </a:p>
          </p:txBody>
        </p:sp>
        <p:sp>
          <p:nvSpPr>
            <p:cNvPr id="96" name="Oval 95">
              <a:extLst>
                <a:ext uri="{FF2B5EF4-FFF2-40B4-BE49-F238E27FC236}">
                  <a16:creationId xmlns:a16="http://schemas.microsoft.com/office/drawing/2014/main" id="{45115D96-EFA4-441C-81AE-6F9BFCEA1053}"/>
                </a:ext>
              </a:extLst>
            </p:cNvPr>
            <p:cNvSpPr/>
            <p:nvPr/>
          </p:nvSpPr>
          <p:spPr>
            <a:xfrm>
              <a:off x="1385598" y="4355562"/>
              <a:ext cx="1472142" cy="1472142"/>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5400" kern="0" dirty="0">
                  <a:solidFill>
                    <a:schemeClr val="bg1">
                      <a:lumMod val="50000"/>
                    </a:schemeClr>
                  </a:solidFill>
                </a:rPr>
                <a:t>2 </a:t>
              </a:r>
            </a:p>
            <a:p>
              <a:pPr algn="ctr">
                <a:lnSpc>
                  <a:spcPct val="95000"/>
                </a:lnSpc>
              </a:pPr>
              <a:r>
                <a:rPr lang="en-US" sz="2000" kern="0" dirty="0">
                  <a:solidFill>
                    <a:schemeClr val="bg1">
                      <a:lumMod val="50000"/>
                    </a:schemeClr>
                  </a:solidFill>
                </a:rPr>
                <a:t>tutoring teams</a:t>
              </a:r>
            </a:p>
          </p:txBody>
        </p:sp>
      </p:grpSp>
    </p:spTree>
    <p:custDataLst>
      <p:tags r:id="rId2"/>
    </p:custDataLst>
    <p:extLst>
      <p:ext uri="{BB962C8B-B14F-4D97-AF65-F5344CB8AC3E}">
        <p14:creationId xmlns:p14="http://schemas.microsoft.com/office/powerpoint/2010/main" val="3096929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1" name="think-cell Slide" r:id="rId7" imgW="498" imgH="499" progId="TCLayout.ActiveDocument.1">
                  <p:embed/>
                </p:oleObj>
              </mc:Choice>
              <mc:Fallback>
                <p:oleObj name="think-cell Slide" r:id="rId7" imgW="498" imgH="499"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200" cy="470898"/>
          </a:xfrm>
        </p:spPr>
        <p:txBody>
          <a:bodyPr/>
          <a:lstStyle/>
          <a:p>
            <a:r>
              <a:rPr lang="en-US" dirty="0"/>
              <a:t>Final presentation schedule (30' per team)</a:t>
            </a:r>
          </a:p>
        </p:txBody>
      </p:sp>
      <p:sp>
        <p:nvSpPr>
          <p:cNvPr id="42" name="IllustrativeStamp">
            <a:extLst>
              <a:ext uri="{FF2B5EF4-FFF2-40B4-BE49-F238E27FC236}">
                <a16:creationId xmlns:a16="http://schemas.microsoft.com/office/drawing/2014/main" id="{DF76B073-A162-43A7-B9CA-B94AA4C357AD}"/>
              </a:ext>
            </a:extLst>
          </p:cNvPr>
          <p:cNvSpPr/>
          <p:nvPr/>
        </p:nvSpPr>
        <p:spPr>
          <a:xfrm>
            <a:off x="630000" y="1403932"/>
            <a:ext cx="2104056" cy="293467"/>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400" dirty="0">
                <a:solidFill>
                  <a:schemeClr val="bg1"/>
                </a:solidFill>
              </a:rPr>
              <a:t>Wednesday 10 February</a:t>
            </a:r>
          </a:p>
        </p:txBody>
      </p:sp>
      <p:sp>
        <p:nvSpPr>
          <p:cNvPr id="58" name="ee4pHeader1">
            <a:extLst>
              <a:ext uri="{FF2B5EF4-FFF2-40B4-BE49-F238E27FC236}">
                <a16:creationId xmlns:a16="http://schemas.microsoft.com/office/drawing/2014/main" id="{DA1879AA-23BB-4A58-8EC8-76B4D35032E9}"/>
              </a:ext>
            </a:extLst>
          </p:cNvPr>
          <p:cNvSpPr txBox="1"/>
          <p:nvPr/>
        </p:nvSpPr>
        <p:spPr>
          <a:xfrm>
            <a:off x="4628759" y="1871736"/>
            <a:ext cx="1947672" cy="307777"/>
          </a:xfrm>
          <a:prstGeom prst="rect">
            <a:avLst/>
          </a:prstGeom>
          <a:noFill/>
          <a:ln cap="rnd">
            <a:noFill/>
          </a:ln>
        </p:spPr>
        <p:txBody>
          <a:bodyPr wrap="square" lIns="0" tIns="0" rIns="0" bIns="0" rtlCol="0" anchor="b" anchorCtr="0">
            <a:spAutoFit/>
          </a:bodyPr>
          <a:lstStyle/>
          <a:p>
            <a:pPr marL="0" lvl="3"/>
            <a:r>
              <a:rPr lang="en-US" sz="2000" dirty="0">
                <a:solidFill>
                  <a:schemeClr val="tx2"/>
                </a:solidFill>
              </a:rPr>
              <a:t>Teams</a:t>
            </a:r>
          </a:p>
        </p:txBody>
      </p:sp>
      <p:sp>
        <p:nvSpPr>
          <p:cNvPr id="62" name="ee4pHeader5">
            <a:extLst>
              <a:ext uri="{FF2B5EF4-FFF2-40B4-BE49-F238E27FC236}">
                <a16:creationId xmlns:a16="http://schemas.microsoft.com/office/drawing/2014/main" id="{58BB993C-5DDE-4D72-A460-047F8EE587DC}"/>
              </a:ext>
            </a:extLst>
          </p:cNvPr>
          <p:cNvSpPr txBox="1"/>
          <p:nvPr/>
        </p:nvSpPr>
        <p:spPr>
          <a:xfrm>
            <a:off x="9101712" y="1871736"/>
            <a:ext cx="2048256" cy="307777"/>
          </a:xfrm>
          <a:prstGeom prst="rect">
            <a:avLst/>
          </a:prstGeom>
          <a:noFill/>
          <a:ln cap="rnd">
            <a:noFill/>
          </a:ln>
        </p:spPr>
        <p:txBody>
          <a:bodyPr wrap="square" lIns="0" tIns="0" rIns="0" bIns="0" rtlCol="0" anchor="b" anchorCtr="0">
            <a:spAutoFit/>
          </a:bodyPr>
          <a:lstStyle/>
          <a:p>
            <a:pPr marL="0" lvl="3"/>
            <a:r>
              <a:rPr lang="en-US" sz="2000" dirty="0">
                <a:solidFill>
                  <a:schemeClr val="tx2"/>
                </a:solidFill>
              </a:rPr>
              <a:t>BCG jury involved</a:t>
            </a:r>
          </a:p>
        </p:txBody>
      </p:sp>
      <p:sp>
        <p:nvSpPr>
          <p:cNvPr id="64" name="ee4pHeader1">
            <a:extLst>
              <a:ext uri="{FF2B5EF4-FFF2-40B4-BE49-F238E27FC236}">
                <a16:creationId xmlns:a16="http://schemas.microsoft.com/office/drawing/2014/main" id="{E1A41001-A3B7-444D-8B01-455BAE415357}"/>
              </a:ext>
            </a:extLst>
          </p:cNvPr>
          <p:cNvSpPr txBox="1"/>
          <p:nvPr/>
        </p:nvSpPr>
        <p:spPr>
          <a:xfrm>
            <a:off x="4628759" y="2367141"/>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a:t>
            </a:r>
          </a:p>
        </p:txBody>
      </p:sp>
      <p:sp>
        <p:nvSpPr>
          <p:cNvPr id="74" name="ee4pHeader1">
            <a:extLst>
              <a:ext uri="{FF2B5EF4-FFF2-40B4-BE49-F238E27FC236}">
                <a16:creationId xmlns:a16="http://schemas.microsoft.com/office/drawing/2014/main" id="{05AE1273-4A32-47EE-815E-65D49363DACD}"/>
              </a:ext>
            </a:extLst>
          </p:cNvPr>
          <p:cNvSpPr txBox="1"/>
          <p:nvPr/>
        </p:nvSpPr>
        <p:spPr>
          <a:xfrm>
            <a:off x="9101711" y="2367141"/>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a:t>
            </a:r>
          </a:p>
        </p:txBody>
      </p:sp>
      <p:sp>
        <p:nvSpPr>
          <p:cNvPr id="65" name="ee4pHeader1">
            <a:extLst>
              <a:ext uri="{FF2B5EF4-FFF2-40B4-BE49-F238E27FC236}">
                <a16:creationId xmlns:a16="http://schemas.microsoft.com/office/drawing/2014/main" id="{563DC65C-3F77-4ECA-A41A-F2915EAAF62B}"/>
              </a:ext>
            </a:extLst>
          </p:cNvPr>
          <p:cNvSpPr txBox="1"/>
          <p:nvPr/>
        </p:nvSpPr>
        <p:spPr>
          <a:xfrm>
            <a:off x="4628759" y="2721050"/>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2</a:t>
            </a:r>
          </a:p>
        </p:txBody>
      </p:sp>
      <p:sp>
        <p:nvSpPr>
          <p:cNvPr id="75" name="ee4pHeader1">
            <a:extLst>
              <a:ext uri="{FF2B5EF4-FFF2-40B4-BE49-F238E27FC236}">
                <a16:creationId xmlns:a16="http://schemas.microsoft.com/office/drawing/2014/main" id="{22FC7044-8EF3-4C03-93D5-0F23CEC42394}"/>
              </a:ext>
            </a:extLst>
          </p:cNvPr>
          <p:cNvSpPr txBox="1"/>
          <p:nvPr/>
        </p:nvSpPr>
        <p:spPr>
          <a:xfrm>
            <a:off x="9101711" y="2721050"/>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2</a:t>
            </a:r>
          </a:p>
        </p:txBody>
      </p:sp>
      <p:sp>
        <p:nvSpPr>
          <p:cNvPr id="66" name="ee4pHeader1">
            <a:extLst>
              <a:ext uri="{FF2B5EF4-FFF2-40B4-BE49-F238E27FC236}">
                <a16:creationId xmlns:a16="http://schemas.microsoft.com/office/drawing/2014/main" id="{85514093-BDA1-43E0-AB09-AB91A433EB39}"/>
              </a:ext>
            </a:extLst>
          </p:cNvPr>
          <p:cNvSpPr txBox="1"/>
          <p:nvPr/>
        </p:nvSpPr>
        <p:spPr>
          <a:xfrm>
            <a:off x="4628759" y="3151869"/>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3</a:t>
            </a:r>
          </a:p>
        </p:txBody>
      </p:sp>
      <p:sp>
        <p:nvSpPr>
          <p:cNvPr id="76" name="ee4pHeader1">
            <a:extLst>
              <a:ext uri="{FF2B5EF4-FFF2-40B4-BE49-F238E27FC236}">
                <a16:creationId xmlns:a16="http://schemas.microsoft.com/office/drawing/2014/main" id="{33028367-014D-4919-B1AB-628578026185}"/>
              </a:ext>
            </a:extLst>
          </p:cNvPr>
          <p:cNvSpPr txBox="1"/>
          <p:nvPr/>
        </p:nvSpPr>
        <p:spPr>
          <a:xfrm>
            <a:off x="9101711" y="3151869"/>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a:t>
            </a:r>
          </a:p>
        </p:txBody>
      </p:sp>
      <p:sp>
        <p:nvSpPr>
          <p:cNvPr id="67" name="ee4pHeader1">
            <a:extLst>
              <a:ext uri="{FF2B5EF4-FFF2-40B4-BE49-F238E27FC236}">
                <a16:creationId xmlns:a16="http://schemas.microsoft.com/office/drawing/2014/main" id="{25FA145D-8960-42A6-8A7E-EF7449C49736}"/>
              </a:ext>
            </a:extLst>
          </p:cNvPr>
          <p:cNvSpPr txBox="1"/>
          <p:nvPr/>
        </p:nvSpPr>
        <p:spPr>
          <a:xfrm>
            <a:off x="4628759" y="3505778"/>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4</a:t>
            </a:r>
          </a:p>
        </p:txBody>
      </p:sp>
      <p:sp>
        <p:nvSpPr>
          <p:cNvPr id="77" name="ee4pHeader1">
            <a:extLst>
              <a:ext uri="{FF2B5EF4-FFF2-40B4-BE49-F238E27FC236}">
                <a16:creationId xmlns:a16="http://schemas.microsoft.com/office/drawing/2014/main" id="{DA5FC753-6714-4FC0-A619-879749788B24}"/>
              </a:ext>
            </a:extLst>
          </p:cNvPr>
          <p:cNvSpPr txBox="1"/>
          <p:nvPr/>
        </p:nvSpPr>
        <p:spPr>
          <a:xfrm>
            <a:off x="9101711" y="3505778"/>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2</a:t>
            </a:r>
          </a:p>
        </p:txBody>
      </p:sp>
      <p:sp>
        <p:nvSpPr>
          <p:cNvPr id="68" name="ee4pHeader1">
            <a:extLst>
              <a:ext uri="{FF2B5EF4-FFF2-40B4-BE49-F238E27FC236}">
                <a16:creationId xmlns:a16="http://schemas.microsoft.com/office/drawing/2014/main" id="{6CBD089C-A8E2-4EFA-A4C9-659C33DD422B}"/>
              </a:ext>
            </a:extLst>
          </p:cNvPr>
          <p:cNvSpPr txBox="1"/>
          <p:nvPr/>
        </p:nvSpPr>
        <p:spPr>
          <a:xfrm>
            <a:off x="4628759" y="3936597"/>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5</a:t>
            </a:r>
          </a:p>
        </p:txBody>
      </p:sp>
      <p:sp>
        <p:nvSpPr>
          <p:cNvPr id="78" name="ee4pHeader1">
            <a:extLst>
              <a:ext uri="{FF2B5EF4-FFF2-40B4-BE49-F238E27FC236}">
                <a16:creationId xmlns:a16="http://schemas.microsoft.com/office/drawing/2014/main" id="{C47617EF-7D8F-42DF-AD1F-FA355E4E9388}"/>
              </a:ext>
            </a:extLst>
          </p:cNvPr>
          <p:cNvSpPr txBox="1"/>
          <p:nvPr/>
        </p:nvSpPr>
        <p:spPr>
          <a:xfrm>
            <a:off x="9101711" y="3936597"/>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a:t>
            </a:r>
          </a:p>
        </p:txBody>
      </p:sp>
      <p:sp>
        <p:nvSpPr>
          <p:cNvPr id="69" name="ee4pHeader1">
            <a:extLst>
              <a:ext uri="{FF2B5EF4-FFF2-40B4-BE49-F238E27FC236}">
                <a16:creationId xmlns:a16="http://schemas.microsoft.com/office/drawing/2014/main" id="{1CAFFD1D-FBB7-45A2-8D65-FD854FB69480}"/>
              </a:ext>
            </a:extLst>
          </p:cNvPr>
          <p:cNvSpPr txBox="1"/>
          <p:nvPr/>
        </p:nvSpPr>
        <p:spPr>
          <a:xfrm>
            <a:off x="4628759" y="4290506"/>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6</a:t>
            </a:r>
          </a:p>
        </p:txBody>
      </p:sp>
      <p:sp>
        <p:nvSpPr>
          <p:cNvPr id="79" name="ee4pHeader1">
            <a:extLst>
              <a:ext uri="{FF2B5EF4-FFF2-40B4-BE49-F238E27FC236}">
                <a16:creationId xmlns:a16="http://schemas.microsoft.com/office/drawing/2014/main" id="{F06AF29C-0F4E-4DCD-8484-27B4544C9210}"/>
              </a:ext>
            </a:extLst>
          </p:cNvPr>
          <p:cNvSpPr txBox="1"/>
          <p:nvPr/>
        </p:nvSpPr>
        <p:spPr>
          <a:xfrm>
            <a:off x="9101711" y="4290506"/>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2</a:t>
            </a:r>
          </a:p>
        </p:txBody>
      </p:sp>
      <p:sp>
        <p:nvSpPr>
          <p:cNvPr id="70" name="ee4pHeader1">
            <a:extLst>
              <a:ext uri="{FF2B5EF4-FFF2-40B4-BE49-F238E27FC236}">
                <a16:creationId xmlns:a16="http://schemas.microsoft.com/office/drawing/2014/main" id="{7C5551CA-AEEF-4170-9489-1940007DDF0F}"/>
              </a:ext>
            </a:extLst>
          </p:cNvPr>
          <p:cNvSpPr txBox="1"/>
          <p:nvPr/>
        </p:nvSpPr>
        <p:spPr>
          <a:xfrm>
            <a:off x="4628759" y="4721325"/>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7</a:t>
            </a:r>
          </a:p>
        </p:txBody>
      </p:sp>
      <p:sp>
        <p:nvSpPr>
          <p:cNvPr id="80" name="ee4pHeader1">
            <a:extLst>
              <a:ext uri="{FF2B5EF4-FFF2-40B4-BE49-F238E27FC236}">
                <a16:creationId xmlns:a16="http://schemas.microsoft.com/office/drawing/2014/main" id="{E846DDBD-082E-43F8-B14B-E2A79B3D095A}"/>
              </a:ext>
            </a:extLst>
          </p:cNvPr>
          <p:cNvSpPr txBox="1"/>
          <p:nvPr/>
        </p:nvSpPr>
        <p:spPr>
          <a:xfrm>
            <a:off x="9101711" y="4721325"/>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a:t>
            </a:r>
          </a:p>
        </p:txBody>
      </p:sp>
      <p:sp>
        <p:nvSpPr>
          <p:cNvPr id="72" name="ee4pHeader1">
            <a:extLst>
              <a:ext uri="{FF2B5EF4-FFF2-40B4-BE49-F238E27FC236}">
                <a16:creationId xmlns:a16="http://schemas.microsoft.com/office/drawing/2014/main" id="{24A1CE12-7982-4002-AB98-986C45F2E65E}"/>
              </a:ext>
            </a:extLst>
          </p:cNvPr>
          <p:cNvSpPr txBox="1"/>
          <p:nvPr/>
        </p:nvSpPr>
        <p:spPr>
          <a:xfrm>
            <a:off x="4628759" y="5075234"/>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8</a:t>
            </a:r>
          </a:p>
        </p:txBody>
      </p:sp>
      <p:sp>
        <p:nvSpPr>
          <p:cNvPr id="81" name="ee4pHeader1">
            <a:extLst>
              <a:ext uri="{FF2B5EF4-FFF2-40B4-BE49-F238E27FC236}">
                <a16:creationId xmlns:a16="http://schemas.microsoft.com/office/drawing/2014/main" id="{3EB039EA-E9BE-4A72-AF20-B66C0770823A}"/>
              </a:ext>
            </a:extLst>
          </p:cNvPr>
          <p:cNvSpPr txBox="1"/>
          <p:nvPr/>
        </p:nvSpPr>
        <p:spPr>
          <a:xfrm>
            <a:off x="9101711" y="5075234"/>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2</a:t>
            </a:r>
          </a:p>
        </p:txBody>
      </p:sp>
      <p:sp>
        <p:nvSpPr>
          <p:cNvPr id="71" name="ee4pHeader1">
            <a:extLst>
              <a:ext uri="{FF2B5EF4-FFF2-40B4-BE49-F238E27FC236}">
                <a16:creationId xmlns:a16="http://schemas.microsoft.com/office/drawing/2014/main" id="{44E95022-FE06-4F96-87FB-EDD3609DAD84}"/>
              </a:ext>
            </a:extLst>
          </p:cNvPr>
          <p:cNvSpPr txBox="1"/>
          <p:nvPr/>
        </p:nvSpPr>
        <p:spPr>
          <a:xfrm>
            <a:off x="4628759" y="5506053"/>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9</a:t>
            </a:r>
          </a:p>
        </p:txBody>
      </p:sp>
      <p:sp>
        <p:nvSpPr>
          <p:cNvPr id="82" name="ee4pHeader1">
            <a:extLst>
              <a:ext uri="{FF2B5EF4-FFF2-40B4-BE49-F238E27FC236}">
                <a16:creationId xmlns:a16="http://schemas.microsoft.com/office/drawing/2014/main" id="{03F1DBFA-A20A-408C-BE10-7B87F4C6B19A}"/>
              </a:ext>
            </a:extLst>
          </p:cNvPr>
          <p:cNvSpPr txBox="1"/>
          <p:nvPr/>
        </p:nvSpPr>
        <p:spPr>
          <a:xfrm>
            <a:off x="9101711" y="5506053"/>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a:t>
            </a:r>
          </a:p>
        </p:txBody>
      </p:sp>
      <p:sp>
        <p:nvSpPr>
          <p:cNvPr id="73" name="ee4pHeader1">
            <a:extLst>
              <a:ext uri="{FF2B5EF4-FFF2-40B4-BE49-F238E27FC236}">
                <a16:creationId xmlns:a16="http://schemas.microsoft.com/office/drawing/2014/main" id="{FF490DD2-2DDC-4C5D-AB4F-44125E62A19B}"/>
              </a:ext>
            </a:extLst>
          </p:cNvPr>
          <p:cNvSpPr txBox="1"/>
          <p:nvPr/>
        </p:nvSpPr>
        <p:spPr>
          <a:xfrm>
            <a:off x="4628759" y="5859964"/>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0</a:t>
            </a:r>
          </a:p>
        </p:txBody>
      </p:sp>
      <p:sp>
        <p:nvSpPr>
          <p:cNvPr id="83" name="ee4pHeader1">
            <a:extLst>
              <a:ext uri="{FF2B5EF4-FFF2-40B4-BE49-F238E27FC236}">
                <a16:creationId xmlns:a16="http://schemas.microsoft.com/office/drawing/2014/main" id="{3115762F-DD50-4D82-B5B0-98229880D501}"/>
              </a:ext>
            </a:extLst>
          </p:cNvPr>
          <p:cNvSpPr txBox="1"/>
          <p:nvPr/>
        </p:nvSpPr>
        <p:spPr>
          <a:xfrm>
            <a:off x="9101711" y="5859964"/>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2</a:t>
            </a:r>
          </a:p>
        </p:txBody>
      </p:sp>
      <p:cxnSp>
        <p:nvCxnSpPr>
          <p:cNvPr id="6" name="Straight Connector 5">
            <a:extLst>
              <a:ext uri="{FF2B5EF4-FFF2-40B4-BE49-F238E27FC236}">
                <a16:creationId xmlns:a16="http://schemas.microsoft.com/office/drawing/2014/main" id="{76FE7E67-A2FD-4300-97F0-EA284A1E4539}"/>
              </a:ext>
            </a:extLst>
          </p:cNvPr>
          <p:cNvCxnSpPr/>
          <p:nvPr/>
        </p:nvCxnSpPr>
        <p:spPr>
          <a:xfrm>
            <a:off x="4553328" y="3859687"/>
            <a:ext cx="659664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A94698F-0A89-4D60-9932-7FF7842570EA}"/>
              </a:ext>
            </a:extLst>
          </p:cNvPr>
          <p:cNvCxnSpPr/>
          <p:nvPr/>
        </p:nvCxnSpPr>
        <p:spPr>
          <a:xfrm>
            <a:off x="4553328" y="4644415"/>
            <a:ext cx="659664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36C7C4B-AF1F-4463-A6A1-9105F60E9CE0}"/>
              </a:ext>
            </a:extLst>
          </p:cNvPr>
          <p:cNvCxnSpPr/>
          <p:nvPr/>
        </p:nvCxnSpPr>
        <p:spPr>
          <a:xfrm>
            <a:off x="4553328" y="3074959"/>
            <a:ext cx="659664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57F2CDF-F51B-4378-8E62-72320C24C309}"/>
              </a:ext>
            </a:extLst>
          </p:cNvPr>
          <p:cNvCxnSpPr/>
          <p:nvPr/>
        </p:nvCxnSpPr>
        <p:spPr>
          <a:xfrm>
            <a:off x="4553328" y="5429143"/>
            <a:ext cx="659664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7" name="ee4pHeader5">
            <a:extLst>
              <a:ext uri="{FF2B5EF4-FFF2-40B4-BE49-F238E27FC236}">
                <a16:creationId xmlns:a16="http://schemas.microsoft.com/office/drawing/2014/main" id="{DCD827CF-E4B6-4B96-8FE4-993CAA09990F}"/>
              </a:ext>
            </a:extLst>
          </p:cNvPr>
          <p:cNvSpPr txBox="1"/>
          <p:nvPr/>
        </p:nvSpPr>
        <p:spPr>
          <a:xfrm>
            <a:off x="6341724" y="1871736"/>
            <a:ext cx="2363735" cy="307777"/>
          </a:xfrm>
          <a:prstGeom prst="rect">
            <a:avLst/>
          </a:prstGeom>
          <a:noFill/>
          <a:ln cap="rnd">
            <a:noFill/>
          </a:ln>
        </p:spPr>
        <p:txBody>
          <a:bodyPr wrap="square" lIns="0" tIns="0" rIns="0" bIns="0" rtlCol="0" anchor="b" anchorCtr="0">
            <a:spAutoFit/>
          </a:bodyPr>
          <a:lstStyle/>
          <a:p>
            <a:pPr marL="0" lvl="3"/>
            <a:r>
              <a:rPr lang="en-US" sz="2000" dirty="0">
                <a:solidFill>
                  <a:schemeClr val="tx2"/>
                </a:solidFill>
              </a:rPr>
              <a:t>Time</a:t>
            </a:r>
          </a:p>
        </p:txBody>
      </p:sp>
      <p:sp>
        <p:nvSpPr>
          <p:cNvPr id="53" name="ee4pHeader1">
            <a:extLst>
              <a:ext uri="{FF2B5EF4-FFF2-40B4-BE49-F238E27FC236}">
                <a16:creationId xmlns:a16="http://schemas.microsoft.com/office/drawing/2014/main" id="{0C44CE2B-02D1-4228-B682-391166CAA339}"/>
              </a:ext>
            </a:extLst>
          </p:cNvPr>
          <p:cNvSpPr txBox="1"/>
          <p:nvPr/>
        </p:nvSpPr>
        <p:spPr>
          <a:xfrm>
            <a:off x="6341724" y="2367141"/>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9h40 – 10h10</a:t>
            </a:r>
          </a:p>
        </p:txBody>
      </p:sp>
      <p:sp>
        <p:nvSpPr>
          <p:cNvPr id="61" name="ee4pHeader1">
            <a:extLst>
              <a:ext uri="{FF2B5EF4-FFF2-40B4-BE49-F238E27FC236}">
                <a16:creationId xmlns:a16="http://schemas.microsoft.com/office/drawing/2014/main" id="{0FC83073-3839-4E84-95E2-D731125C09F4}"/>
              </a:ext>
            </a:extLst>
          </p:cNvPr>
          <p:cNvSpPr txBox="1"/>
          <p:nvPr/>
        </p:nvSpPr>
        <p:spPr>
          <a:xfrm>
            <a:off x="6341724" y="2721050"/>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9h40 – 10h10</a:t>
            </a:r>
          </a:p>
        </p:txBody>
      </p:sp>
      <p:sp>
        <p:nvSpPr>
          <p:cNvPr id="63" name="ee4pHeader1">
            <a:extLst>
              <a:ext uri="{FF2B5EF4-FFF2-40B4-BE49-F238E27FC236}">
                <a16:creationId xmlns:a16="http://schemas.microsoft.com/office/drawing/2014/main" id="{0DD5249C-F594-4AA3-A799-0951F33D215A}"/>
              </a:ext>
            </a:extLst>
          </p:cNvPr>
          <p:cNvSpPr txBox="1"/>
          <p:nvPr/>
        </p:nvSpPr>
        <p:spPr>
          <a:xfrm>
            <a:off x="6341724" y="3151869"/>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0h10 – 10h40</a:t>
            </a:r>
          </a:p>
        </p:txBody>
      </p:sp>
      <p:sp>
        <p:nvSpPr>
          <p:cNvPr id="88" name="ee4pHeader1">
            <a:extLst>
              <a:ext uri="{FF2B5EF4-FFF2-40B4-BE49-F238E27FC236}">
                <a16:creationId xmlns:a16="http://schemas.microsoft.com/office/drawing/2014/main" id="{6F0A2B25-583A-4F15-A378-3961BDCF19A8}"/>
              </a:ext>
            </a:extLst>
          </p:cNvPr>
          <p:cNvSpPr txBox="1"/>
          <p:nvPr/>
        </p:nvSpPr>
        <p:spPr>
          <a:xfrm>
            <a:off x="6341724" y="3505778"/>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0h10 – 10h40</a:t>
            </a:r>
          </a:p>
        </p:txBody>
      </p:sp>
      <p:sp>
        <p:nvSpPr>
          <p:cNvPr id="89" name="ee4pHeader1">
            <a:extLst>
              <a:ext uri="{FF2B5EF4-FFF2-40B4-BE49-F238E27FC236}">
                <a16:creationId xmlns:a16="http://schemas.microsoft.com/office/drawing/2014/main" id="{55632F33-4252-4BC5-B889-098CD461CADF}"/>
              </a:ext>
            </a:extLst>
          </p:cNvPr>
          <p:cNvSpPr txBox="1"/>
          <p:nvPr/>
        </p:nvSpPr>
        <p:spPr>
          <a:xfrm>
            <a:off x="6341724" y="3936597"/>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0h40 – 11h10</a:t>
            </a:r>
          </a:p>
        </p:txBody>
      </p:sp>
      <p:sp>
        <p:nvSpPr>
          <p:cNvPr id="90" name="ee4pHeader1">
            <a:extLst>
              <a:ext uri="{FF2B5EF4-FFF2-40B4-BE49-F238E27FC236}">
                <a16:creationId xmlns:a16="http://schemas.microsoft.com/office/drawing/2014/main" id="{E040F128-1D9C-4095-AB1E-B042D4F2ACAD}"/>
              </a:ext>
            </a:extLst>
          </p:cNvPr>
          <p:cNvSpPr txBox="1"/>
          <p:nvPr/>
        </p:nvSpPr>
        <p:spPr>
          <a:xfrm>
            <a:off x="6341724" y="4290506"/>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0h40 – 11h10</a:t>
            </a:r>
          </a:p>
        </p:txBody>
      </p:sp>
      <p:sp>
        <p:nvSpPr>
          <p:cNvPr id="91" name="ee4pHeader1">
            <a:extLst>
              <a:ext uri="{FF2B5EF4-FFF2-40B4-BE49-F238E27FC236}">
                <a16:creationId xmlns:a16="http://schemas.microsoft.com/office/drawing/2014/main" id="{8C434FEE-5CE6-420B-9ED4-FE0EA7D33DB4}"/>
              </a:ext>
            </a:extLst>
          </p:cNvPr>
          <p:cNvSpPr txBox="1"/>
          <p:nvPr/>
        </p:nvSpPr>
        <p:spPr>
          <a:xfrm>
            <a:off x="6341724" y="4721325"/>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1h10 – 11h40</a:t>
            </a:r>
          </a:p>
        </p:txBody>
      </p:sp>
      <p:sp>
        <p:nvSpPr>
          <p:cNvPr id="92" name="ee4pHeader1">
            <a:extLst>
              <a:ext uri="{FF2B5EF4-FFF2-40B4-BE49-F238E27FC236}">
                <a16:creationId xmlns:a16="http://schemas.microsoft.com/office/drawing/2014/main" id="{33593157-363B-462E-A248-F6E1325D306A}"/>
              </a:ext>
            </a:extLst>
          </p:cNvPr>
          <p:cNvSpPr txBox="1"/>
          <p:nvPr/>
        </p:nvSpPr>
        <p:spPr>
          <a:xfrm>
            <a:off x="6341724" y="5075234"/>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1h10 – 11h40</a:t>
            </a:r>
          </a:p>
        </p:txBody>
      </p:sp>
      <p:sp>
        <p:nvSpPr>
          <p:cNvPr id="93" name="ee4pHeader1">
            <a:extLst>
              <a:ext uri="{FF2B5EF4-FFF2-40B4-BE49-F238E27FC236}">
                <a16:creationId xmlns:a16="http://schemas.microsoft.com/office/drawing/2014/main" id="{339D20EF-84D5-4631-A34B-9AB4ABD39850}"/>
              </a:ext>
            </a:extLst>
          </p:cNvPr>
          <p:cNvSpPr txBox="1"/>
          <p:nvPr/>
        </p:nvSpPr>
        <p:spPr>
          <a:xfrm>
            <a:off x="6341724" y="5506053"/>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1h40 – 12h10</a:t>
            </a:r>
          </a:p>
        </p:txBody>
      </p:sp>
      <p:sp>
        <p:nvSpPr>
          <p:cNvPr id="94" name="ee4pHeader1">
            <a:extLst>
              <a:ext uri="{FF2B5EF4-FFF2-40B4-BE49-F238E27FC236}">
                <a16:creationId xmlns:a16="http://schemas.microsoft.com/office/drawing/2014/main" id="{C95A5798-1FF6-4379-AD6C-8A0E19298656}"/>
              </a:ext>
            </a:extLst>
          </p:cNvPr>
          <p:cNvSpPr txBox="1"/>
          <p:nvPr/>
        </p:nvSpPr>
        <p:spPr>
          <a:xfrm>
            <a:off x="6341724" y="5859964"/>
            <a:ext cx="1947672" cy="276999"/>
          </a:xfrm>
          <a:prstGeom prst="rect">
            <a:avLst/>
          </a:prstGeom>
          <a:noFill/>
          <a:ln cap="rnd">
            <a:noFill/>
          </a:ln>
        </p:spPr>
        <p:txBody>
          <a:bodyPr wrap="square" lIns="0" tIns="0" rIns="0" bIns="0" rtlCol="0" anchor="b" anchorCtr="0">
            <a:spAutoFit/>
          </a:bodyPr>
          <a:lstStyle/>
          <a:p>
            <a:pPr marL="0" lvl="3"/>
            <a:r>
              <a:rPr lang="en-US" dirty="0">
                <a:solidFill>
                  <a:srgbClr val="575757"/>
                </a:solidFill>
              </a:rPr>
              <a:t>11h40 – 12h10</a:t>
            </a:r>
          </a:p>
        </p:txBody>
      </p:sp>
      <p:grpSp>
        <p:nvGrpSpPr>
          <p:cNvPr id="7" name="Group 6">
            <a:extLst>
              <a:ext uri="{FF2B5EF4-FFF2-40B4-BE49-F238E27FC236}">
                <a16:creationId xmlns:a16="http://schemas.microsoft.com/office/drawing/2014/main" id="{DF627F29-4198-4794-8377-AC15CD44ACCE}"/>
              </a:ext>
            </a:extLst>
          </p:cNvPr>
          <p:cNvGrpSpPr/>
          <p:nvPr/>
        </p:nvGrpSpPr>
        <p:grpSpPr>
          <a:xfrm>
            <a:off x="1261914" y="2367141"/>
            <a:ext cx="1472142" cy="3460563"/>
            <a:chOff x="1385598" y="2367141"/>
            <a:chExt cx="1472142" cy="3460563"/>
          </a:xfrm>
        </p:grpSpPr>
        <p:sp>
          <p:nvSpPr>
            <p:cNvPr id="96" name="Oval 95">
              <a:extLst>
                <a:ext uri="{FF2B5EF4-FFF2-40B4-BE49-F238E27FC236}">
                  <a16:creationId xmlns:a16="http://schemas.microsoft.com/office/drawing/2014/main" id="{1C16B6D5-DD09-47A1-9AD0-E59CD237C93E}"/>
                </a:ext>
              </a:extLst>
            </p:cNvPr>
            <p:cNvSpPr/>
            <p:nvPr/>
          </p:nvSpPr>
          <p:spPr>
            <a:xfrm>
              <a:off x="1385598" y="2367141"/>
              <a:ext cx="1472142" cy="1472142"/>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3600" kern="0" dirty="0">
                  <a:solidFill>
                    <a:schemeClr val="bg1">
                      <a:lumMod val="50000"/>
                    </a:schemeClr>
                  </a:solidFill>
                </a:rPr>
                <a:t>10</a:t>
              </a:r>
              <a:r>
                <a:rPr lang="en-US" sz="3200" kern="0" dirty="0">
                  <a:solidFill>
                    <a:schemeClr val="bg1">
                      <a:lumMod val="50000"/>
                    </a:schemeClr>
                  </a:solidFill>
                </a:rPr>
                <a:t> </a:t>
              </a:r>
              <a:r>
                <a:rPr lang="en-US" sz="2000" kern="0" dirty="0">
                  <a:solidFill>
                    <a:schemeClr val="bg1">
                      <a:lumMod val="50000"/>
                    </a:schemeClr>
                  </a:solidFill>
                </a:rPr>
                <a:t>teams</a:t>
              </a:r>
              <a:endParaRPr lang="en-US" sz="2400" kern="0" dirty="0">
                <a:solidFill>
                  <a:schemeClr val="bg1">
                    <a:lumMod val="50000"/>
                  </a:schemeClr>
                </a:solidFill>
              </a:endParaRPr>
            </a:p>
          </p:txBody>
        </p:sp>
        <p:sp>
          <p:nvSpPr>
            <p:cNvPr id="97" name="Oval 96">
              <a:extLst>
                <a:ext uri="{FF2B5EF4-FFF2-40B4-BE49-F238E27FC236}">
                  <a16:creationId xmlns:a16="http://schemas.microsoft.com/office/drawing/2014/main" id="{62C845DE-2F2A-4C59-8A63-102BC04DA664}"/>
                </a:ext>
              </a:extLst>
            </p:cNvPr>
            <p:cNvSpPr/>
            <p:nvPr/>
          </p:nvSpPr>
          <p:spPr>
            <a:xfrm>
              <a:off x="1385598" y="4355562"/>
              <a:ext cx="1472142" cy="1472142"/>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3600" kern="0" dirty="0">
                  <a:solidFill>
                    <a:schemeClr val="bg1">
                      <a:lumMod val="50000"/>
                    </a:schemeClr>
                  </a:solidFill>
                </a:rPr>
                <a:t>2 </a:t>
              </a:r>
            </a:p>
            <a:p>
              <a:pPr algn="ctr">
                <a:lnSpc>
                  <a:spcPct val="95000"/>
                </a:lnSpc>
              </a:pPr>
              <a:r>
                <a:rPr lang="en-US" sz="2000" kern="0" dirty="0">
                  <a:solidFill>
                    <a:schemeClr val="bg1">
                      <a:lumMod val="50000"/>
                    </a:schemeClr>
                  </a:solidFill>
                </a:rPr>
                <a:t>juries</a:t>
              </a:r>
            </a:p>
          </p:txBody>
        </p:sp>
      </p:grpSp>
      <p:grpSp>
        <p:nvGrpSpPr>
          <p:cNvPr id="98" name="Group 97">
            <a:extLst>
              <a:ext uri="{FF2B5EF4-FFF2-40B4-BE49-F238E27FC236}">
                <a16:creationId xmlns:a16="http://schemas.microsoft.com/office/drawing/2014/main" id="{F1D49B68-21F1-47F4-97B9-2E198D90B35C}"/>
              </a:ext>
            </a:extLst>
          </p:cNvPr>
          <p:cNvGrpSpPr/>
          <p:nvPr/>
        </p:nvGrpSpPr>
        <p:grpSpPr>
          <a:xfrm>
            <a:off x="3619191" y="2057882"/>
            <a:ext cx="306171" cy="4079081"/>
            <a:chOff x="5942914" y="2081213"/>
            <a:chExt cx="306171" cy="4079081"/>
          </a:xfrm>
        </p:grpSpPr>
        <p:cxnSp>
          <p:nvCxnSpPr>
            <p:cNvPr id="99" name="Straight Connector 98">
              <a:extLst>
                <a:ext uri="{FF2B5EF4-FFF2-40B4-BE49-F238E27FC236}">
                  <a16:creationId xmlns:a16="http://schemas.microsoft.com/office/drawing/2014/main" id="{682B6CF5-D7DA-486D-98BF-DB66CF7791D1}"/>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4B0BE7CB-E4B0-4FD6-94E6-3FA14000753E}"/>
                </a:ext>
              </a:extLst>
            </p:cNvPr>
            <p:cNvGrpSpPr/>
            <p:nvPr/>
          </p:nvGrpSpPr>
          <p:grpSpPr>
            <a:xfrm>
              <a:off x="5942914" y="3967299"/>
              <a:ext cx="306171" cy="306910"/>
              <a:chOff x="5937564" y="3833745"/>
              <a:chExt cx="306171" cy="306910"/>
            </a:xfrm>
          </p:grpSpPr>
          <p:sp>
            <p:nvSpPr>
              <p:cNvPr id="101" name="Freeform 94">
                <a:extLst>
                  <a:ext uri="{FF2B5EF4-FFF2-40B4-BE49-F238E27FC236}">
                    <a16:creationId xmlns:a16="http://schemas.microsoft.com/office/drawing/2014/main" id="{80410706-BD96-4908-87B4-2C0F2E918A59}"/>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02" name="Freeform 95">
                <a:extLst>
                  <a:ext uri="{FF2B5EF4-FFF2-40B4-BE49-F238E27FC236}">
                    <a16:creationId xmlns:a16="http://schemas.microsoft.com/office/drawing/2014/main" id="{9E6C3D1F-044D-44EE-8522-E55C7275C34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custDataLst>
      <p:tags r:id="rId2"/>
    </p:custDataLst>
    <p:extLst>
      <p:ext uri="{BB962C8B-B14F-4D97-AF65-F5344CB8AC3E}">
        <p14:creationId xmlns:p14="http://schemas.microsoft.com/office/powerpoint/2010/main" val="2504967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3CEB59-A259-42FB-9A71-01165C622AB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63" name="think-cell Slide" r:id="rId7" imgW="473" imgH="473" progId="TCLayout.ActiveDocument.1">
                  <p:embed/>
                </p:oleObj>
              </mc:Choice>
              <mc:Fallback>
                <p:oleObj name="think-cell Slide" r:id="rId7" imgW="473" imgH="473" progId="TCLayout.ActiveDocument.1">
                  <p:embed/>
                  <p:pic>
                    <p:nvPicPr>
                      <p:cNvPr id="4" name="Object 3" hidden="1">
                        <a:extLst>
                          <a:ext uri="{FF2B5EF4-FFF2-40B4-BE49-F238E27FC236}">
                            <a16:creationId xmlns:a16="http://schemas.microsoft.com/office/drawing/2014/main" id="{F13CEB59-A259-42FB-9A71-01165C622AB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1C7600-6817-4056-81B5-1B91C2097CD9}"/>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200" cy="941796"/>
          </a:xfrm>
        </p:spPr>
        <p:txBody>
          <a:bodyPr vert="horz"/>
          <a:lstStyle/>
          <a:p>
            <a:r>
              <a:rPr lang="en-US" altLang="fr-FR" dirty="0"/>
              <a:t>The consulting team will answer your questions before the CTM</a:t>
            </a:r>
            <a:endParaRPr lang="en-US" dirty="0"/>
          </a:p>
        </p:txBody>
      </p:sp>
      <p:sp>
        <p:nvSpPr>
          <p:cNvPr id="46" name="TextBox 45">
            <a:extLst>
              <a:ext uri="{FF2B5EF4-FFF2-40B4-BE49-F238E27FC236}">
                <a16:creationId xmlns:a16="http://schemas.microsoft.com/office/drawing/2014/main" id="{2DA89B7B-F96D-4A50-892F-CA1988288D2E}"/>
              </a:ext>
            </a:extLst>
          </p:cNvPr>
          <p:cNvSpPr txBox="1"/>
          <p:nvPr/>
        </p:nvSpPr>
        <p:spPr>
          <a:xfrm>
            <a:off x="2343285" y="4333591"/>
            <a:ext cx="3756211" cy="17660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rgbClr val="29BA74"/>
                </a:solidFill>
              </a:rPr>
              <a:t>Magali </a:t>
            </a:r>
            <a:r>
              <a:rPr lang="en-US" sz="2800" b="1" dirty="0" err="1">
                <a:solidFill>
                  <a:srgbClr val="29BA74"/>
                </a:solidFill>
              </a:rPr>
              <a:t>Beffy</a:t>
            </a:r>
            <a:endParaRPr lang="en-US" sz="2800" b="1" dirty="0">
              <a:solidFill>
                <a:srgbClr val="29BA74"/>
              </a:solidFill>
            </a:endParaRPr>
          </a:p>
          <a:p>
            <a:pPr algn="ctr"/>
            <a:r>
              <a:rPr lang="en-US" dirty="0">
                <a:solidFill>
                  <a:srgbClr val="575757"/>
                </a:solidFill>
              </a:rPr>
              <a:t>Lead Data Scientist</a:t>
            </a:r>
          </a:p>
          <a:p>
            <a:pPr algn="ctr"/>
            <a:r>
              <a:rPr lang="en-US" dirty="0" err="1">
                <a:solidFill>
                  <a:srgbClr val="575757"/>
                </a:solidFill>
              </a:rPr>
              <a:t>beffy.magali@bcg.com</a:t>
            </a:r>
            <a:endParaRPr lang="en-US" dirty="0">
              <a:solidFill>
                <a:srgbClr val="575757"/>
              </a:solidFill>
            </a:endParaRPr>
          </a:p>
        </p:txBody>
      </p:sp>
      <p:pic>
        <p:nvPicPr>
          <p:cNvPr id="6" name="Picture 5">
            <a:extLst>
              <a:ext uri="{FF2B5EF4-FFF2-40B4-BE49-F238E27FC236}">
                <a16:creationId xmlns:a16="http://schemas.microsoft.com/office/drawing/2014/main" id="{CEF12268-FB5B-E741-92D2-8EC81E0B5536}"/>
              </a:ext>
            </a:extLst>
          </p:cNvPr>
          <p:cNvPicPr>
            <a:picLocks noChangeAspect="1"/>
          </p:cNvPicPr>
          <p:nvPr/>
        </p:nvPicPr>
        <p:blipFill>
          <a:blip r:embed="rId9"/>
          <a:stretch>
            <a:fillRect/>
          </a:stretch>
        </p:blipFill>
        <p:spPr>
          <a:xfrm>
            <a:off x="6746193" y="1908717"/>
            <a:ext cx="2435331" cy="2391213"/>
          </a:xfrm>
          <a:prstGeom prst="ellipse">
            <a:avLst/>
          </a:prstGeom>
          <a:grpFill/>
          <a:ln w="38100">
            <a:gradFill flip="none" rotWithShape="1">
              <a:gsLst>
                <a:gs pos="0">
                  <a:schemeClr val="accent2"/>
                </a:gs>
                <a:gs pos="100000">
                  <a:schemeClr val="tx2"/>
                </a:gs>
              </a:gsLst>
              <a:lin ang="2700000" scaled="1"/>
              <a:tileRect/>
            </a:gradFill>
          </a:ln>
        </p:spPr>
      </p:pic>
      <p:sp>
        <p:nvSpPr>
          <p:cNvPr id="50" name="TextBox 49">
            <a:extLst>
              <a:ext uri="{FF2B5EF4-FFF2-40B4-BE49-F238E27FC236}">
                <a16:creationId xmlns:a16="http://schemas.microsoft.com/office/drawing/2014/main" id="{01419A80-7667-4248-8FA3-530BE37D0D40}"/>
              </a:ext>
            </a:extLst>
          </p:cNvPr>
          <p:cNvSpPr txBox="1"/>
          <p:nvPr/>
        </p:nvSpPr>
        <p:spPr>
          <a:xfrm>
            <a:off x="6092504" y="4333591"/>
            <a:ext cx="3756211" cy="17660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rgbClr val="29BA74"/>
                </a:solidFill>
              </a:rPr>
              <a:t>Xavier Dubois de la </a:t>
            </a:r>
            <a:r>
              <a:rPr lang="en-US" sz="2800" b="1" dirty="0" err="1">
                <a:solidFill>
                  <a:srgbClr val="29BA74"/>
                </a:solidFill>
              </a:rPr>
              <a:t>Sablonière</a:t>
            </a:r>
            <a:endParaRPr lang="en-US" sz="2800" b="1" dirty="0">
              <a:solidFill>
                <a:srgbClr val="29BA74"/>
              </a:solidFill>
            </a:endParaRPr>
          </a:p>
          <a:p>
            <a:pPr algn="ctr"/>
            <a:r>
              <a:rPr lang="en-US" dirty="0">
                <a:solidFill>
                  <a:srgbClr val="575757"/>
                </a:solidFill>
              </a:rPr>
              <a:t>Principal</a:t>
            </a:r>
          </a:p>
          <a:p>
            <a:pPr algn="ctr"/>
            <a:r>
              <a:rPr lang="en-US" dirty="0" err="1">
                <a:solidFill>
                  <a:srgbClr val="575757"/>
                </a:solidFill>
              </a:rPr>
              <a:t>DuboisdelaSabloniere.Xavier@bcg.com</a:t>
            </a:r>
            <a:endParaRPr lang="en-US" dirty="0">
              <a:solidFill>
                <a:srgbClr val="575757"/>
              </a:solidFill>
            </a:endParaRPr>
          </a:p>
        </p:txBody>
      </p:sp>
      <p:pic>
        <p:nvPicPr>
          <p:cNvPr id="8" name="Picture 7">
            <a:extLst>
              <a:ext uri="{FF2B5EF4-FFF2-40B4-BE49-F238E27FC236}">
                <a16:creationId xmlns:a16="http://schemas.microsoft.com/office/drawing/2014/main" id="{A15AC3D9-D0CD-7B4A-A8EC-2FB2E15F53AB}"/>
              </a:ext>
            </a:extLst>
          </p:cNvPr>
          <p:cNvPicPr>
            <a:picLocks/>
          </p:cNvPicPr>
          <p:nvPr/>
        </p:nvPicPr>
        <p:blipFill>
          <a:blip r:embed="rId10"/>
          <a:stretch>
            <a:fillRect/>
          </a:stretch>
        </p:blipFill>
        <p:spPr>
          <a:xfrm>
            <a:off x="2945770" y="1908717"/>
            <a:ext cx="2435331" cy="2391213"/>
          </a:xfrm>
          <a:prstGeom prst="ellipse">
            <a:avLst/>
          </a:prstGeom>
          <a:grpFill/>
          <a:ln w="38100">
            <a:gradFill flip="none" rotWithShape="1">
              <a:gsLst>
                <a:gs pos="0">
                  <a:schemeClr val="accent2"/>
                </a:gs>
                <a:gs pos="100000">
                  <a:schemeClr val="tx2"/>
                </a:gs>
              </a:gsLst>
              <a:lin ang="2700000" scaled="1"/>
              <a:tileRect/>
            </a:gradFill>
          </a:ln>
        </p:spPr>
      </p:pic>
    </p:spTree>
    <p:custDataLst>
      <p:tags r:id="rId2"/>
    </p:custDataLst>
    <p:extLst>
      <p:ext uri="{BB962C8B-B14F-4D97-AF65-F5344CB8AC3E}">
        <p14:creationId xmlns:p14="http://schemas.microsoft.com/office/powerpoint/2010/main" val="3169621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886" name="think-cell Slide" r:id="rId5" imgW="498" imgH="499" progId="TCLayout.ActiveDocument.1">
                  <p:embed/>
                </p:oleObj>
              </mc:Choice>
              <mc:Fallback>
                <p:oleObj name="think-cell Slide" r:id="rId5" imgW="498" imgH="49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a:t>Technical pre-requisites for the case study</a:t>
            </a:r>
            <a:endParaRPr lang="en-US" dirty="0"/>
          </a:p>
        </p:txBody>
      </p:sp>
      <p:sp>
        <p:nvSpPr>
          <p:cNvPr id="3" name="Content Placeholder 2"/>
          <p:cNvSpPr>
            <a:spLocks noGrp="1"/>
          </p:cNvSpPr>
          <p:nvPr>
            <p:ph type="body" sz="quarter" idx="10"/>
          </p:nvPr>
        </p:nvSpPr>
        <p:spPr>
          <a:xfrm>
            <a:off x="629399" y="1540879"/>
            <a:ext cx="10933801" cy="4089131"/>
          </a:xfrm>
        </p:spPr>
        <p:txBody>
          <a:bodyPr/>
          <a:lstStyle/>
          <a:p>
            <a:pPr>
              <a:lnSpc>
                <a:spcPct val="100000"/>
              </a:lnSpc>
              <a:spcBef>
                <a:spcPts val="0"/>
              </a:spcBef>
              <a:spcAft>
                <a:spcPts val="0"/>
              </a:spcAft>
              <a:buSzPct val="100000"/>
              <a:buFont typeface="Trebuchet MS" panose="020B0603020202020204" pitchFamily="34" charset="0"/>
              <a:buChar char="​"/>
            </a:pPr>
            <a:r>
              <a:rPr lang="en-US" sz="1600" b="1">
                <a:solidFill>
                  <a:schemeClr val="tx1">
                    <a:lumMod val="100000"/>
                  </a:schemeClr>
                </a:solidFill>
                <a:latin typeface="Trebuchet MS" panose="020B0603020202020204" pitchFamily="34" charset="0"/>
              </a:rPr>
              <a:t>Simple data manipulation in Python/R</a:t>
            </a:r>
          </a:p>
          <a:p>
            <a:pPr marL="324000" lvl="1" indent="-216000">
              <a:buClr>
                <a:schemeClr val="tx2">
                  <a:lumMod val="100000"/>
                </a:schemeClr>
              </a:buClr>
              <a:buSzPct val="100000"/>
              <a:buFont typeface="Trebuchet MS" panose="020B0703020202090204" pitchFamily="34" charset="0"/>
              <a:buChar char="•"/>
            </a:pPr>
            <a:r>
              <a:rPr lang="en-US" sz="1600">
                <a:solidFill>
                  <a:schemeClr val="tx1">
                    <a:lumMod val="100000"/>
                  </a:schemeClr>
                </a:solidFill>
                <a:latin typeface="Trebuchet MS" panose="020B0703020202090204" pitchFamily="34" charset="0"/>
              </a:rPr>
              <a:t>Descriptive statistics on big data </a:t>
            </a:r>
          </a:p>
          <a:p>
            <a:pPr marL="324000" lvl="1" indent="-216000">
              <a:buClr>
                <a:schemeClr val="tx2">
                  <a:lumMod val="100000"/>
                </a:schemeClr>
              </a:buClr>
              <a:buSzPct val="100000"/>
              <a:buFont typeface="Trebuchet MS" panose="020B0703020202090204" pitchFamily="34" charset="0"/>
              <a:buChar char="•"/>
            </a:pPr>
            <a:r>
              <a:rPr lang="en-US" sz="1600">
                <a:solidFill>
                  <a:schemeClr val="tx1">
                    <a:lumMod val="100000"/>
                  </a:schemeClr>
                </a:solidFill>
                <a:latin typeface="Trebuchet MS" panose="020B0703020202090204" pitchFamily="34" charset="0"/>
              </a:rPr>
              <a:t>Elementary data visualisations </a:t>
            </a:r>
            <a:r>
              <a:rPr lang="en-US" sz="1600">
                <a:solidFill>
                  <a:schemeClr val="tx1">
                    <a:lumMod val="100000"/>
                  </a:schemeClr>
                </a:solidFill>
                <a:latin typeface="Trebuchet MS" panose="020B0603020202020204" pitchFamily="34" charset="0"/>
              </a:rPr>
              <a:t>(Matplotlib, Tableau, etc…)	</a:t>
            </a:r>
          </a:p>
          <a:p>
            <a:pPr>
              <a:lnSpc>
                <a:spcPct val="100000"/>
              </a:lnSpc>
              <a:spcBef>
                <a:spcPts val="0"/>
              </a:spcBef>
              <a:spcAft>
                <a:spcPts val="0"/>
              </a:spcAft>
              <a:buSzPct val="100000"/>
              <a:buFont typeface="Trebuchet MS" panose="020B0603020202020204" pitchFamily="34" charset="0"/>
              <a:buChar char="​"/>
            </a:pPr>
            <a:endParaRPr lang="en-US" sz="1600">
              <a:solidFill>
                <a:schemeClr val="tx1">
                  <a:lumMod val="100000"/>
                </a:schemeClr>
              </a:solidFill>
              <a:latin typeface="Trebuchet MS" panose="020B0603020202020204" pitchFamily="34" charset="0"/>
            </a:endParaRPr>
          </a:p>
          <a:p>
            <a:pPr>
              <a:lnSpc>
                <a:spcPct val="100000"/>
              </a:lnSpc>
              <a:spcBef>
                <a:spcPts val="0"/>
              </a:spcBef>
              <a:spcAft>
                <a:spcPts val="0"/>
              </a:spcAft>
              <a:buSzPct val="100000"/>
              <a:buFont typeface="Trebuchet MS" panose="020B0603020202020204" pitchFamily="34" charset="0"/>
              <a:buChar char="​"/>
            </a:pPr>
            <a:r>
              <a:rPr lang="en-US" sz="1600" b="1">
                <a:solidFill>
                  <a:schemeClr val="tx1">
                    <a:lumMod val="100000"/>
                  </a:schemeClr>
                </a:solidFill>
                <a:latin typeface="Trebuchet MS" panose="020B0603020202020204" pitchFamily="34" charset="0"/>
              </a:rPr>
              <a:t>Classical Machine Learning models</a:t>
            </a:r>
          </a:p>
          <a:p>
            <a:pPr marL="324000" lvl="1" indent="-216000">
              <a:lnSpc>
                <a:spcPct val="100000"/>
              </a:lnSpc>
              <a:spcAft>
                <a:spcPts val="0"/>
              </a:spcAft>
              <a:buClr>
                <a:schemeClr val="tx2">
                  <a:lumMod val="100000"/>
                </a:schemeClr>
              </a:buClr>
              <a:buSzPct val="100000"/>
              <a:buFont typeface="Trebuchet MS" panose="020B0603020202020204" pitchFamily="34" charset="0"/>
              <a:buChar char="•"/>
            </a:pPr>
            <a:r>
              <a:rPr lang="en-US" sz="1600">
                <a:solidFill>
                  <a:schemeClr val="tx1">
                    <a:lumMod val="100000"/>
                  </a:schemeClr>
                </a:solidFill>
                <a:latin typeface="Trebuchet MS" panose="020B0603020202020204" pitchFamily="34" charset="0"/>
              </a:rPr>
              <a:t>Basic Algorithms (logistic regression, random forests, …)</a:t>
            </a:r>
          </a:p>
          <a:p>
            <a:pPr marL="324000" lvl="1" indent="-216000">
              <a:lnSpc>
                <a:spcPct val="100000"/>
              </a:lnSpc>
              <a:spcAft>
                <a:spcPts val="0"/>
              </a:spcAft>
              <a:buClr>
                <a:schemeClr val="tx2">
                  <a:lumMod val="100000"/>
                </a:schemeClr>
              </a:buClr>
              <a:buSzPct val="100000"/>
              <a:buFont typeface="Trebuchet MS" panose="020B0603020202020204" pitchFamily="34" charset="0"/>
              <a:buChar char="•"/>
            </a:pPr>
            <a:r>
              <a:rPr lang="en-US" sz="1600">
                <a:solidFill>
                  <a:schemeClr val="tx1">
                    <a:lumMod val="100000"/>
                  </a:schemeClr>
                </a:solidFill>
                <a:latin typeface="Trebuchet MS" panose="020B0603020202020204" pitchFamily="34" charset="0"/>
              </a:rPr>
              <a:t>Scikit-learn or equivalent</a:t>
            </a:r>
          </a:p>
          <a:p>
            <a:pPr marL="324000" lvl="1" indent="-216000">
              <a:lnSpc>
                <a:spcPct val="100000"/>
              </a:lnSpc>
              <a:spcAft>
                <a:spcPts val="0"/>
              </a:spcAft>
              <a:buClr>
                <a:schemeClr val="tx2">
                  <a:lumMod val="100000"/>
                </a:schemeClr>
              </a:buClr>
              <a:buSzPct val="100000"/>
              <a:buFont typeface="Trebuchet MS" panose="020B0603020202020204" pitchFamily="34" charset="0"/>
              <a:buChar char="•"/>
            </a:pPr>
            <a:r>
              <a:rPr lang="en-US" sz="1600">
                <a:solidFill>
                  <a:schemeClr val="tx1">
                    <a:lumMod val="100000"/>
                  </a:schemeClr>
                </a:solidFill>
                <a:latin typeface="Trebuchet MS" panose="020B0603020202020204" pitchFamily="34" charset="0"/>
              </a:rPr>
              <a:t>Performance and validation metrics</a:t>
            </a:r>
          </a:p>
          <a:p>
            <a:pPr marL="108000" lvl="1" indent="0">
              <a:lnSpc>
                <a:spcPct val="100000"/>
              </a:lnSpc>
              <a:spcAft>
                <a:spcPts val="0"/>
              </a:spcAft>
              <a:buClr>
                <a:schemeClr val="tx2">
                  <a:lumMod val="100000"/>
                </a:schemeClr>
              </a:buClr>
              <a:buSzPct val="100000"/>
              <a:buNone/>
            </a:pPr>
            <a:endParaRPr lang="en-US" sz="1600">
              <a:solidFill>
                <a:schemeClr val="tx1">
                  <a:lumMod val="100000"/>
                </a:schemeClr>
              </a:solidFill>
              <a:latin typeface="Trebuchet MS" panose="020B0603020202020204" pitchFamily="34" charset="0"/>
            </a:endParaRPr>
          </a:p>
          <a:p>
            <a:pPr>
              <a:lnSpc>
                <a:spcPct val="100000"/>
              </a:lnSpc>
              <a:spcBef>
                <a:spcPts val="0"/>
              </a:spcBef>
              <a:spcAft>
                <a:spcPts val="0"/>
              </a:spcAft>
              <a:buSzPct val="100000"/>
              <a:buFont typeface="Trebuchet MS" panose="020B0603020202020204" pitchFamily="34" charset="0"/>
              <a:buChar char="​"/>
            </a:pPr>
            <a:r>
              <a:rPr lang="en-US" sz="1600" b="1">
                <a:solidFill>
                  <a:schemeClr val="tx1">
                    <a:lumMod val="100000"/>
                  </a:schemeClr>
                </a:solidFill>
                <a:latin typeface="Trebuchet MS" panose="020B0603020202020204" pitchFamily="34" charset="0"/>
              </a:rPr>
              <a:t>Linear optimisation: basic concepts</a:t>
            </a:r>
          </a:p>
          <a:p>
            <a:pPr>
              <a:lnSpc>
                <a:spcPct val="100000"/>
              </a:lnSpc>
              <a:spcBef>
                <a:spcPts val="0"/>
              </a:spcBef>
              <a:spcAft>
                <a:spcPts val="0"/>
              </a:spcAft>
              <a:buSzPct val="100000"/>
              <a:buFont typeface="Trebuchet MS" panose="020B0603020202020204" pitchFamily="34" charset="0"/>
              <a:buChar char="​"/>
            </a:pPr>
            <a:endParaRPr lang="en-US" sz="1600">
              <a:solidFill>
                <a:schemeClr val="tx1">
                  <a:lumMod val="100000"/>
                </a:schemeClr>
              </a:solidFill>
              <a:latin typeface="Trebuchet MS" panose="020B0603020202020204" pitchFamily="34" charset="0"/>
            </a:endParaRPr>
          </a:p>
          <a:p>
            <a:pPr>
              <a:lnSpc>
                <a:spcPct val="100000"/>
              </a:lnSpc>
              <a:spcBef>
                <a:spcPts val="0"/>
              </a:spcBef>
              <a:spcAft>
                <a:spcPts val="0"/>
              </a:spcAft>
              <a:buSzPct val="100000"/>
              <a:buFont typeface="Trebuchet MS" panose="020B0603020202020204" pitchFamily="34" charset="0"/>
              <a:buChar char="​"/>
            </a:pPr>
            <a:r>
              <a:rPr lang="en-US" sz="1600" b="1">
                <a:solidFill>
                  <a:schemeClr val="tx1">
                    <a:lumMod val="100000"/>
                  </a:schemeClr>
                </a:solidFill>
                <a:latin typeface="Trebuchet MS" panose="020B0603020202020204" pitchFamily="34" charset="0"/>
              </a:rPr>
              <a:t>Python materials to refresh on</a:t>
            </a:r>
          </a:p>
          <a:p>
            <a:pPr marL="324000" lvl="1" indent="-216000">
              <a:buClr>
                <a:schemeClr val="tx2">
                  <a:lumMod val="100000"/>
                </a:schemeClr>
              </a:buClr>
              <a:buSzPct val="100000"/>
              <a:buFont typeface="Trebuchet MS" panose="020B0603020202020204" pitchFamily="34" charset="0"/>
              <a:buChar char="•"/>
            </a:pPr>
            <a:r>
              <a:rPr lang="en-US" sz="1600">
                <a:solidFill>
                  <a:schemeClr val="tx1">
                    <a:lumMod val="100000"/>
                  </a:schemeClr>
                </a:solidFill>
                <a:latin typeface="Trebuchet MS" panose="020B0603020202020204" pitchFamily="34" charset="0"/>
              </a:rPr>
              <a:t>Python Data Science Handbook by Jake Vanderplas: </a:t>
            </a:r>
            <a:r>
              <a:rPr lang="en-US" sz="1600">
                <a:solidFill>
                  <a:schemeClr val="tx1">
                    <a:lumMod val="100000"/>
                  </a:schemeClr>
                </a:solidFill>
                <a:latin typeface="Trebuchet MS" panose="020B0603020202020204" pitchFamily="34" charset="0"/>
                <a:hlinkClick r:id="rId7"/>
              </a:rPr>
              <a:t>https://jakevdp.github.io/PythonDataScienceHandbook/</a:t>
            </a:r>
            <a:r>
              <a:rPr lang="en-US" sz="1600">
                <a:solidFill>
                  <a:schemeClr val="tx1">
                    <a:lumMod val="100000"/>
                  </a:schemeClr>
                </a:solidFill>
                <a:latin typeface="Trebuchet MS" panose="020B0603020202020204" pitchFamily="34" charset="0"/>
              </a:rPr>
              <a:t>  </a:t>
            </a:r>
          </a:p>
          <a:p>
            <a:pPr marL="324000" lvl="1" indent="-216000">
              <a:buClr>
                <a:schemeClr val="tx2">
                  <a:lumMod val="100000"/>
                </a:schemeClr>
              </a:buClr>
              <a:buSzPct val="100000"/>
              <a:buFont typeface="Trebuchet MS" panose="020B0603020202020204" pitchFamily="34" charset="0"/>
              <a:buChar char="•"/>
            </a:pPr>
            <a:r>
              <a:rPr lang="en-US" sz="1600">
                <a:solidFill>
                  <a:schemeClr val="tx1">
                    <a:lumMod val="100000"/>
                  </a:schemeClr>
                </a:solidFill>
                <a:latin typeface="Trebuchet MS" panose="020B0603020202020204" pitchFamily="34" charset="0"/>
              </a:rPr>
              <a:t>Pandas package documentation: </a:t>
            </a:r>
            <a:r>
              <a:rPr lang="en-US" sz="1600">
                <a:solidFill>
                  <a:schemeClr val="tx1">
                    <a:lumMod val="100000"/>
                  </a:schemeClr>
                </a:solidFill>
                <a:latin typeface="Trebuchet MS" panose="020B0603020202020204" pitchFamily="34" charset="0"/>
                <a:hlinkClick r:id="rId8"/>
              </a:rPr>
              <a:t>https://pandas.pydata.org</a:t>
            </a:r>
            <a:r>
              <a:rPr lang="en-US" sz="1600">
                <a:solidFill>
                  <a:schemeClr val="tx1">
                    <a:lumMod val="100000"/>
                  </a:schemeClr>
                </a:solidFill>
                <a:latin typeface="Trebuchet MS" panose="020B0603020202020204" pitchFamily="34" charset="0"/>
              </a:rPr>
              <a:t>, in particular </a:t>
            </a:r>
            <a:r>
              <a:rPr lang="en-US" sz="1600">
                <a:solidFill>
                  <a:schemeClr val="tx1">
                    <a:lumMod val="100000"/>
                  </a:schemeClr>
                </a:solidFill>
                <a:latin typeface="Trebuchet MS" panose="020B0603020202020204" pitchFamily="34" charset="0"/>
                <a:hlinkClick r:id="rId9"/>
              </a:rPr>
              <a:t>https://pandas.pydata.org/pandas-docs/stable/getting_started/10min.html</a:t>
            </a:r>
            <a:r>
              <a:rPr lang="en-US" sz="1600">
                <a:solidFill>
                  <a:schemeClr val="tx1">
                    <a:lumMod val="100000"/>
                  </a:schemeClr>
                </a:solidFill>
                <a:latin typeface="Trebuchet MS" panose="020B0603020202020204" pitchFamily="34" charset="0"/>
              </a:rPr>
              <a:t> for an introduction</a:t>
            </a:r>
          </a:p>
          <a:p>
            <a:pPr marL="324000" lvl="1" indent="-216000">
              <a:buClr>
                <a:schemeClr val="tx2">
                  <a:lumMod val="100000"/>
                </a:schemeClr>
              </a:buClr>
              <a:buSzPct val="100000"/>
              <a:buFont typeface="Trebuchet MS" panose="020B0603020202020204" pitchFamily="34" charset="0"/>
              <a:buChar char="•"/>
            </a:pPr>
            <a:r>
              <a:rPr lang="en-US" sz="1600">
                <a:solidFill>
                  <a:schemeClr val="tx1">
                    <a:lumMod val="100000"/>
                  </a:schemeClr>
                </a:solidFill>
                <a:latin typeface="Trebuchet MS" panose="020B0603020202020204" pitchFamily="34" charset="0"/>
              </a:rPr>
              <a:t>Scikit-learn package tutorials: </a:t>
            </a:r>
            <a:r>
              <a:rPr lang="en-US" sz="1600">
                <a:solidFill>
                  <a:schemeClr val="tx1">
                    <a:lumMod val="100000"/>
                  </a:schemeClr>
                </a:solidFill>
                <a:latin typeface="Trebuchet MS" panose="020B0603020202020204" pitchFamily="34" charset="0"/>
                <a:hlinkClick r:id="rId10"/>
              </a:rPr>
              <a:t>https://scikit-learn.org/stable/tutorial/index.html</a:t>
            </a:r>
            <a:r>
              <a:rPr lang="en-US" sz="1600">
                <a:solidFill>
                  <a:schemeClr val="tx1">
                    <a:lumMod val="100000"/>
                  </a:schemeClr>
                </a:solidFill>
                <a:latin typeface="Trebuchet MS" panose="020B0603020202020204" pitchFamily="34" charset="0"/>
              </a:rPr>
              <a:t> </a:t>
            </a:r>
          </a:p>
          <a:p>
            <a:pPr>
              <a:lnSpc>
                <a:spcPct val="100000"/>
              </a:lnSpc>
              <a:spcBef>
                <a:spcPts val="0"/>
              </a:spcBef>
              <a:spcAft>
                <a:spcPts val="0"/>
              </a:spcAft>
              <a:buSzPct val="100000"/>
              <a:buFont typeface="Trebuchet MS" panose="020B0603020202020204" pitchFamily="34" charset="0"/>
              <a:buChar char="​"/>
            </a:pPr>
            <a:r>
              <a:rPr lang="en-US" sz="1600">
                <a:solidFill>
                  <a:schemeClr val="tx1">
                    <a:lumMod val="100000"/>
                  </a:schemeClr>
                </a:solidFill>
                <a:latin typeface="Trebuchet MS" panose="020B0603020202020204" pitchFamily="34" charset="0"/>
              </a:rPr>
              <a:t> </a:t>
            </a:r>
          </a:p>
          <a:p>
            <a:pPr>
              <a:lnSpc>
                <a:spcPct val="100000"/>
              </a:lnSpc>
              <a:spcBef>
                <a:spcPts val="0"/>
              </a:spcBef>
              <a:spcAft>
                <a:spcPts val="0"/>
              </a:spcAft>
              <a:buSzPct val="100000"/>
              <a:buFont typeface="Trebuchet MS" panose="020B0603020202020204" pitchFamily="34" charset="0"/>
              <a:buChar char="​"/>
            </a:pPr>
            <a:r>
              <a:rPr lang="en-US" sz="1600">
                <a:solidFill>
                  <a:schemeClr val="tx1">
                    <a:lumMod val="100000"/>
                  </a:schemeClr>
                </a:solidFill>
                <a:latin typeface="Trebuchet MS" panose="020B0603020202020204" pitchFamily="34" charset="0"/>
              </a:rPr>
              <a:t> </a:t>
            </a:r>
            <a:endParaRPr lang="en-US" sz="1600" dirty="0">
              <a:solidFill>
                <a:schemeClr val="tx1">
                  <a:lumMod val="100000"/>
                </a:schemeClr>
              </a:solidFill>
              <a:latin typeface="Trebuchet MS" panose="020B0603020202020204" pitchFamily="34" charset="0"/>
            </a:endParaRPr>
          </a:p>
        </p:txBody>
      </p:sp>
    </p:spTree>
    <p:extLst>
      <p:ext uri="{BB962C8B-B14F-4D97-AF65-F5344CB8AC3E}">
        <p14:creationId xmlns:p14="http://schemas.microsoft.com/office/powerpoint/2010/main" val="1109701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911" name="think-cell Slide" r:id="rId7" imgW="498" imgH="499" progId="TCLayout.ActiveDocument.1">
                  <p:embed/>
                </p:oleObj>
              </mc:Choice>
              <mc:Fallback>
                <p:oleObj name="think-cell Slide" r:id="rId7" imgW="498" imgH="499"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9458" name="Rectangle 2"/>
          <p:cNvSpPr>
            <a:spLocks noGrp="1" noChangeArrowheads="1"/>
          </p:cNvSpPr>
          <p:nvPr>
            <p:ph type="title"/>
          </p:nvPr>
        </p:nvSpPr>
        <p:spPr>
          <a:xfrm>
            <a:off x="630000" y="622800"/>
            <a:ext cx="6256800" cy="470898"/>
          </a:xfrm>
          <a:prstGeom prst="rect">
            <a:avLst/>
          </a:prstGeom>
        </p:spPr>
        <p:txBody>
          <a:bodyPr>
            <a:spAutoFit/>
          </a:bodyPr>
          <a:lstStyle/>
          <a:p>
            <a:pPr eaLnBrk="1" hangingPunct="1"/>
            <a:r>
              <a:rPr lang="en-US" altLang="fr-FR"/>
              <a:t>We expect…</a:t>
            </a:r>
            <a:endParaRPr lang="en-US" altLang="fr-FR" dirty="0"/>
          </a:p>
        </p:txBody>
      </p:sp>
      <p:sp>
        <p:nvSpPr>
          <p:cNvPr id="19460" name="Rectangle 6"/>
          <p:cNvSpPr>
            <a:spLocks noChangeArrowheads="1"/>
          </p:cNvSpPr>
          <p:nvPr>
            <p:custDataLst>
              <p:tags r:id="rId4"/>
            </p:custDataLst>
          </p:nvPr>
        </p:nvSpPr>
        <p:spPr bwMode="gray">
          <a:xfrm>
            <a:off x="8551787" y="2263453"/>
            <a:ext cx="3064917" cy="2381894"/>
          </a:xfrm>
          <a:prstGeom prst="rect">
            <a:avLst/>
          </a:prstGeom>
          <a:noFill/>
          <a:ln w="9525" algn="ctr">
            <a:noFill/>
            <a:miter lim="800000"/>
            <a:headEnd type="none" w="lg" len="lg"/>
            <a:tailEnd type="none" w="lg" len="lg"/>
          </a:ln>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lgn="ctr">
                <a:solidFill>
                  <a:schemeClr val="tx2"/>
                </a:solidFill>
                <a:miter lim="800000"/>
                <a:headEnd type="none" w="lg" len="lg"/>
                <a:tailEnd type="none" w="lg" len="lg"/>
              </a14:hiddenLine>
            </a:ext>
          </a:extLst>
        </p:spPr>
        <p:txBody>
          <a:bodyPr anchor="ctr" anchorCtr="1"/>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en-US" altLang="fr-FR" sz="2800" b="0" dirty="0">
                <a:solidFill>
                  <a:srgbClr val="FFFFFF"/>
                </a:solidFill>
                <a:latin typeface="Trebuchet MS" panose="020B0603020202020204" pitchFamily="34" charset="0"/>
              </a:rPr>
              <a:t>We will be demanding just as our clients would be in « real-life »</a:t>
            </a:r>
          </a:p>
        </p:txBody>
      </p:sp>
      <p:grpSp>
        <p:nvGrpSpPr>
          <p:cNvPr id="8" name="Group 7"/>
          <p:cNvGrpSpPr>
            <a:grpSpLocks noChangeAspect="1"/>
          </p:cNvGrpSpPr>
          <p:nvPr/>
        </p:nvGrpSpPr>
        <p:grpSpPr>
          <a:xfrm>
            <a:off x="3532829" y="1685451"/>
            <a:ext cx="983842" cy="983842"/>
            <a:chOff x="5273675" y="2514600"/>
            <a:chExt cx="1646238" cy="1646238"/>
          </a:xfrm>
        </p:grpSpPr>
        <p:sp>
          <p:nvSpPr>
            <p:cNvPr id="9" name="AutoShape 23"/>
            <p:cNvSpPr>
              <a:spLocks noChangeAspect="1" noChangeArrowheads="1" noTextEdit="1"/>
            </p:cNvSpPr>
            <p:nvPr/>
          </p:nvSpPr>
          <p:spPr bwMode="auto">
            <a:xfrm>
              <a:off x="5273675" y="2514600"/>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 name="Group 9"/>
            <p:cNvGrpSpPr/>
            <p:nvPr/>
          </p:nvGrpSpPr>
          <p:grpSpPr>
            <a:xfrm>
              <a:off x="5334714" y="2797174"/>
              <a:ext cx="1514633" cy="1085850"/>
              <a:chOff x="5334714" y="2797174"/>
              <a:chExt cx="1514633" cy="1085850"/>
            </a:xfrm>
          </p:grpSpPr>
          <p:sp>
            <p:nvSpPr>
              <p:cNvPr id="11" name="Freeform 10"/>
              <p:cNvSpPr>
                <a:spLocks/>
              </p:cNvSpPr>
              <p:nvPr/>
            </p:nvSpPr>
            <p:spPr bwMode="auto">
              <a:xfrm>
                <a:off x="5334714" y="2797174"/>
                <a:ext cx="1514633" cy="1085850"/>
              </a:xfrm>
              <a:custGeom>
                <a:avLst/>
                <a:gdLst>
                  <a:gd name="connsiteX0" fmla="*/ 964541 w 1514633"/>
                  <a:gd name="connsiteY0" fmla="*/ 881063 h 1085850"/>
                  <a:gd name="connsiteX1" fmla="*/ 1498896 w 1514633"/>
                  <a:gd name="connsiteY1" fmla="*/ 881063 h 1085850"/>
                  <a:gd name="connsiteX2" fmla="*/ 1511773 w 1514633"/>
                  <a:gd name="connsiteY2" fmla="*/ 887505 h 1085850"/>
                  <a:gd name="connsiteX3" fmla="*/ 1513919 w 1514633"/>
                  <a:gd name="connsiteY3" fmla="*/ 901820 h 1085850"/>
                  <a:gd name="connsiteX4" fmla="*/ 1485305 w 1514633"/>
                  <a:gd name="connsiteY4" fmla="*/ 993436 h 1085850"/>
                  <a:gd name="connsiteX5" fmla="*/ 1470283 w 1514633"/>
                  <a:gd name="connsiteY5" fmla="*/ 1004888 h 1085850"/>
                  <a:gd name="connsiteX6" fmla="*/ 805736 w 1514633"/>
                  <a:gd name="connsiteY6" fmla="*/ 1004888 h 1085850"/>
                  <a:gd name="connsiteX7" fmla="*/ 805736 w 1514633"/>
                  <a:gd name="connsiteY7" fmla="*/ 972679 h 1085850"/>
                  <a:gd name="connsiteX8" fmla="*/ 1458838 w 1514633"/>
                  <a:gd name="connsiteY8" fmla="*/ 972679 h 1085850"/>
                  <a:gd name="connsiteX9" fmla="*/ 1477436 w 1514633"/>
                  <a:gd name="connsiteY9" fmla="*/ 912556 h 1085850"/>
                  <a:gd name="connsiteX10" fmla="*/ 980278 w 1514633"/>
                  <a:gd name="connsiteY10" fmla="*/ 912556 h 1085850"/>
                  <a:gd name="connsiteX11" fmla="*/ 980278 w 1514633"/>
                  <a:gd name="connsiteY11" fmla="*/ 924008 h 1085850"/>
                  <a:gd name="connsiteX12" fmla="*/ 964541 w 1514633"/>
                  <a:gd name="connsiteY12" fmla="*/ 939755 h 1085850"/>
                  <a:gd name="connsiteX13" fmla="*/ 805736 w 1514633"/>
                  <a:gd name="connsiteY13" fmla="*/ 939755 h 1085850"/>
                  <a:gd name="connsiteX14" fmla="*/ 805736 w 1514633"/>
                  <a:gd name="connsiteY14" fmla="*/ 908262 h 1085850"/>
                  <a:gd name="connsiteX15" fmla="*/ 948803 w 1514633"/>
                  <a:gd name="connsiteY15" fmla="*/ 908262 h 1085850"/>
                  <a:gd name="connsiteX16" fmla="*/ 948803 w 1514633"/>
                  <a:gd name="connsiteY16" fmla="*/ 896810 h 1085850"/>
                  <a:gd name="connsiteX17" fmla="*/ 964541 w 1514633"/>
                  <a:gd name="connsiteY17" fmla="*/ 881063 h 1085850"/>
                  <a:gd name="connsiteX18" fmla="*/ 15726 w 1514633"/>
                  <a:gd name="connsiteY18" fmla="*/ 881063 h 1085850"/>
                  <a:gd name="connsiteX19" fmla="*/ 549662 w 1514633"/>
                  <a:gd name="connsiteY19" fmla="*/ 881063 h 1085850"/>
                  <a:gd name="connsiteX20" fmla="*/ 565387 w 1514633"/>
                  <a:gd name="connsiteY20" fmla="*/ 896810 h 1085850"/>
                  <a:gd name="connsiteX21" fmla="*/ 565387 w 1514633"/>
                  <a:gd name="connsiteY21" fmla="*/ 908262 h 1085850"/>
                  <a:gd name="connsiteX22" fmla="*/ 710486 w 1514633"/>
                  <a:gd name="connsiteY22" fmla="*/ 908262 h 1085850"/>
                  <a:gd name="connsiteX23" fmla="*/ 710486 w 1514633"/>
                  <a:gd name="connsiteY23" fmla="*/ 939755 h 1085850"/>
                  <a:gd name="connsiteX24" fmla="*/ 549662 w 1514633"/>
                  <a:gd name="connsiteY24" fmla="*/ 939755 h 1085850"/>
                  <a:gd name="connsiteX25" fmla="*/ 533937 w 1514633"/>
                  <a:gd name="connsiteY25" fmla="*/ 924008 h 1085850"/>
                  <a:gd name="connsiteX26" fmla="*/ 533937 w 1514633"/>
                  <a:gd name="connsiteY26" fmla="*/ 912556 h 1085850"/>
                  <a:gd name="connsiteX27" fmla="*/ 37169 w 1514633"/>
                  <a:gd name="connsiteY27" fmla="*/ 912556 h 1085850"/>
                  <a:gd name="connsiteX28" fmla="*/ 55753 w 1514633"/>
                  <a:gd name="connsiteY28" fmla="*/ 972679 h 1085850"/>
                  <a:gd name="connsiteX29" fmla="*/ 710486 w 1514633"/>
                  <a:gd name="connsiteY29" fmla="*/ 972679 h 1085850"/>
                  <a:gd name="connsiteX30" fmla="*/ 710486 w 1514633"/>
                  <a:gd name="connsiteY30" fmla="*/ 1004888 h 1085850"/>
                  <a:gd name="connsiteX31" fmla="*/ 44317 w 1514633"/>
                  <a:gd name="connsiteY31" fmla="*/ 1004888 h 1085850"/>
                  <a:gd name="connsiteX32" fmla="*/ 29307 w 1514633"/>
                  <a:gd name="connsiteY32" fmla="*/ 993436 h 1085850"/>
                  <a:gd name="connsiteX33" fmla="*/ 716 w 1514633"/>
                  <a:gd name="connsiteY33" fmla="*/ 901820 h 1085850"/>
                  <a:gd name="connsiteX34" fmla="*/ 2860 w 1514633"/>
                  <a:gd name="connsiteY34" fmla="*/ 887505 h 1085850"/>
                  <a:gd name="connsiteX35" fmla="*/ 15726 w 1514633"/>
                  <a:gd name="connsiteY35" fmla="*/ 881063 h 1085850"/>
                  <a:gd name="connsiteX36" fmla="*/ 808595 w 1514633"/>
                  <a:gd name="connsiteY36" fmla="*/ 80963 h 1085850"/>
                  <a:gd name="connsiteX37" fmla="*/ 1399614 w 1514633"/>
                  <a:gd name="connsiteY37" fmla="*/ 80963 h 1085850"/>
                  <a:gd name="connsiteX38" fmla="*/ 1415336 w 1514633"/>
                  <a:gd name="connsiteY38" fmla="*/ 96658 h 1085850"/>
                  <a:gd name="connsiteX39" fmla="*/ 1412478 w 1514633"/>
                  <a:gd name="connsiteY39" fmla="*/ 833618 h 1085850"/>
                  <a:gd name="connsiteX40" fmla="*/ 1396755 w 1514633"/>
                  <a:gd name="connsiteY40" fmla="*/ 849313 h 1085850"/>
                  <a:gd name="connsiteX41" fmla="*/ 805736 w 1514633"/>
                  <a:gd name="connsiteY41" fmla="*/ 849313 h 1085850"/>
                  <a:gd name="connsiteX42" fmla="*/ 805736 w 1514633"/>
                  <a:gd name="connsiteY42" fmla="*/ 817923 h 1085850"/>
                  <a:gd name="connsiteX43" fmla="*/ 1381033 w 1514633"/>
                  <a:gd name="connsiteY43" fmla="*/ 817923 h 1085850"/>
                  <a:gd name="connsiteX44" fmla="*/ 1383891 w 1514633"/>
                  <a:gd name="connsiteY44" fmla="*/ 112353 h 1085850"/>
                  <a:gd name="connsiteX45" fmla="*/ 808595 w 1514633"/>
                  <a:gd name="connsiteY45" fmla="*/ 112353 h 1085850"/>
                  <a:gd name="connsiteX46" fmla="*/ 808595 w 1514633"/>
                  <a:gd name="connsiteY46" fmla="*/ 80963 h 1085850"/>
                  <a:gd name="connsiteX47" fmla="*/ 121038 w 1514633"/>
                  <a:gd name="connsiteY47" fmla="*/ 80963 h 1085850"/>
                  <a:gd name="connsiteX48" fmla="*/ 609345 w 1514633"/>
                  <a:gd name="connsiteY48" fmla="*/ 80963 h 1085850"/>
                  <a:gd name="connsiteX49" fmla="*/ 712074 w 1514633"/>
                  <a:gd name="connsiteY49" fmla="*/ 80963 h 1085850"/>
                  <a:gd name="connsiteX50" fmla="*/ 713662 w 1514633"/>
                  <a:gd name="connsiteY50" fmla="*/ 80963 h 1085850"/>
                  <a:gd name="connsiteX51" fmla="*/ 713662 w 1514633"/>
                  <a:gd name="connsiteY51" fmla="*/ 94206 h 1085850"/>
                  <a:gd name="connsiteX52" fmla="*/ 713662 w 1514633"/>
                  <a:gd name="connsiteY52" fmla="*/ 111126 h 1085850"/>
                  <a:gd name="connsiteX53" fmla="*/ 713662 w 1514633"/>
                  <a:gd name="connsiteY53" fmla="*/ 112353 h 1085850"/>
                  <a:gd name="connsiteX54" fmla="*/ 136746 w 1514633"/>
                  <a:gd name="connsiteY54" fmla="*/ 112353 h 1085850"/>
                  <a:gd name="connsiteX55" fmla="*/ 133890 w 1514633"/>
                  <a:gd name="connsiteY55" fmla="*/ 817923 h 1085850"/>
                  <a:gd name="connsiteX56" fmla="*/ 710806 w 1514633"/>
                  <a:gd name="connsiteY56" fmla="*/ 817923 h 1085850"/>
                  <a:gd name="connsiteX57" fmla="*/ 710806 w 1514633"/>
                  <a:gd name="connsiteY57" fmla="*/ 849313 h 1085850"/>
                  <a:gd name="connsiteX58" fmla="*/ 118182 w 1514633"/>
                  <a:gd name="connsiteY58" fmla="*/ 849313 h 1085850"/>
                  <a:gd name="connsiteX59" fmla="*/ 102474 w 1514633"/>
                  <a:gd name="connsiteY59" fmla="*/ 833618 h 1085850"/>
                  <a:gd name="connsiteX60" fmla="*/ 105330 w 1514633"/>
                  <a:gd name="connsiteY60" fmla="*/ 96658 h 1085850"/>
                  <a:gd name="connsiteX61" fmla="*/ 121038 w 1514633"/>
                  <a:gd name="connsiteY61" fmla="*/ 80963 h 1085850"/>
                  <a:gd name="connsiteX62" fmla="*/ 759256 w 1514633"/>
                  <a:gd name="connsiteY62" fmla="*/ 0 h 1085850"/>
                  <a:gd name="connsiteX63" fmla="*/ 773987 w 1514633"/>
                  <a:gd name="connsiteY63" fmla="*/ 15706 h 1085850"/>
                  <a:gd name="connsiteX64" fmla="*/ 773987 w 1514633"/>
                  <a:gd name="connsiteY64" fmla="*/ 1070144 h 1085850"/>
                  <a:gd name="connsiteX65" fmla="*/ 759256 w 1514633"/>
                  <a:gd name="connsiteY65" fmla="*/ 1085850 h 1085850"/>
                  <a:gd name="connsiteX66" fmla="*/ 743824 w 1514633"/>
                  <a:gd name="connsiteY66" fmla="*/ 1070144 h 1085850"/>
                  <a:gd name="connsiteX67" fmla="*/ 743824 w 1514633"/>
                  <a:gd name="connsiteY67" fmla="*/ 15706 h 1085850"/>
                  <a:gd name="connsiteX68" fmla="*/ 759256 w 1514633"/>
                  <a:gd name="connsiteY68" fmla="*/ 0 h 108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514633" h="1085850">
                    <a:moveTo>
                      <a:pt x="964541" y="881063"/>
                    </a:moveTo>
                    <a:cubicBezTo>
                      <a:pt x="964541" y="881063"/>
                      <a:pt x="964541" y="881063"/>
                      <a:pt x="1498896" y="881063"/>
                    </a:cubicBezTo>
                    <a:cubicBezTo>
                      <a:pt x="1503904" y="881063"/>
                      <a:pt x="1508196" y="883926"/>
                      <a:pt x="1511773" y="887505"/>
                    </a:cubicBezTo>
                    <a:cubicBezTo>
                      <a:pt x="1514634" y="891799"/>
                      <a:pt x="1515349" y="896810"/>
                      <a:pt x="1513919" y="901820"/>
                    </a:cubicBezTo>
                    <a:cubicBezTo>
                      <a:pt x="1513919" y="901820"/>
                      <a:pt x="1513919" y="901820"/>
                      <a:pt x="1485305" y="993436"/>
                    </a:cubicBezTo>
                    <a:cubicBezTo>
                      <a:pt x="1483159" y="1000594"/>
                      <a:pt x="1476721" y="1004888"/>
                      <a:pt x="1470283" y="1004888"/>
                    </a:cubicBezTo>
                    <a:cubicBezTo>
                      <a:pt x="1470283" y="1004888"/>
                      <a:pt x="1470283" y="1004888"/>
                      <a:pt x="805736" y="1004888"/>
                    </a:cubicBezTo>
                    <a:cubicBezTo>
                      <a:pt x="805736" y="1004888"/>
                      <a:pt x="805736" y="1004888"/>
                      <a:pt x="805736" y="972679"/>
                    </a:cubicBezTo>
                    <a:cubicBezTo>
                      <a:pt x="805736" y="972679"/>
                      <a:pt x="805736" y="972679"/>
                      <a:pt x="1458838" y="972679"/>
                    </a:cubicBezTo>
                    <a:cubicBezTo>
                      <a:pt x="1458838" y="972679"/>
                      <a:pt x="1458838" y="972679"/>
                      <a:pt x="1477436" y="912556"/>
                    </a:cubicBezTo>
                    <a:cubicBezTo>
                      <a:pt x="1477436" y="912556"/>
                      <a:pt x="1477436" y="912556"/>
                      <a:pt x="980278" y="912556"/>
                    </a:cubicBezTo>
                    <a:cubicBezTo>
                      <a:pt x="980278" y="912556"/>
                      <a:pt x="980278" y="912556"/>
                      <a:pt x="980278" y="924008"/>
                    </a:cubicBezTo>
                    <a:cubicBezTo>
                      <a:pt x="980278" y="932597"/>
                      <a:pt x="973125" y="939755"/>
                      <a:pt x="964541" y="939755"/>
                    </a:cubicBezTo>
                    <a:cubicBezTo>
                      <a:pt x="964541" y="939755"/>
                      <a:pt x="964541" y="939755"/>
                      <a:pt x="805736" y="939755"/>
                    </a:cubicBezTo>
                    <a:cubicBezTo>
                      <a:pt x="805736" y="939755"/>
                      <a:pt x="805736" y="939755"/>
                      <a:pt x="805736" y="908262"/>
                    </a:cubicBezTo>
                    <a:cubicBezTo>
                      <a:pt x="805736" y="908262"/>
                      <a:pt x="805736" y="908262"/>
                      <a:pt x="948803" y="908262"/>
                    </a:cubicBezTo>
                    <a:cubicBezTo>
                      <a:pt x="948803" y="908262"/>
                      <a:pt x="948803" y="908262"/>
                      <a:pt x="948803" y="896810"/>
                    </a:cubicBezTo>
                    <a:cubicBezTo>
                      <a:pt x="948803" y="888221"/>
                      <a:pt x="955957" y="881063"/>
                      <a:pt x="964541" y="881063"/>
                    </a:cubicBezTo>
                    <a:close/>
                    <a:moveTo>
                      <a:pt x="15726" y="881063"/>
                    </a:moveTo>
                    <a:cubicBezTo>
                      <a:pt x="15726" y="881063"/>
                      <a:pt x="15726" y="881063"/>
                      <a:pt x="549662" y="881063"/>
                    </a:cubicBezTo>
                    <a:cubicBezTo>
                      <a:pt x="558239" y="881063"/>
                      <a:pt x="565387" y="888221"/>
                      <a:pt x="565387" y="896810"/>
                    </a:cubicBezTo>
                    <a:cubicBezTo>
                      <a:pt x="565387" y="896810"/>
                      <a:pt x="565387" y="896810"/>
                      <a:pt x="565387" y="908262"/>
                    </a:cubicBezTo>
                    <a:cubicBezTo>
                      <a:pt x="565387" y="908262"/>
                      <a:pt x="565387" y="908262"/>
                      <a:pt x="710486" y="908262"/>
                    </a:cubicBezTo>
                    <a:cubicBezTo>
                      <a:pt x="710486" y="908262"/>
                      <a:pt x="710486" y="908262"/>
                      <a:pt x="710486" y="939755"/>
                    </a:cubicBezTo>
                    <a:cubicBezTo>
                      <a:pt x="710486" y="939755"/>
                      <a:pt x="710486" y="939755"/>
                      <a:pt x="549662" y="939755"/>
                    </a:cubicBezTo>
                    <a:cubicBezTo>
                      <a:pt x="541085" y="939755"/>
                      <a:pt x="533937" y="932597"/>
                      <a:pt x="533937" y="924008"/>
                    </a:cubicBezTo>
                    <a:cubicBezTo>
                      <a:pt x="533937" y="924008"/>
                      <a:pt x="533937" y="924008"/>
                      <a:pt x="533937" y="912556"/>
                    </a:cubicBezTo>
                    <a:cubicBezTo>
                      <a:pt x="533937" y="912556"/>
                      <a:pt x="533937" y="912556"/>
                      <a:pt x="37169" y="912556"/>
                    </a:cubicBezTo>
                    <a:cubicBezTo>
                      <a:pt x="37169" y="912556"/>
                      <a:pt x="37169" y="912556"/>
                      <a:pt x="55753" y="972679"/>
                    </a:cubicBezTo>
                    <a:cubicBezTo>
                      <a:pt x="55753" y="972679"/>
                      <a:pt x="55753" y="972679"/>
                      <a:pt x="710486" y="972679"/>
                    </a:cubicBezTo>
                    <a:cubicBezTo>
                      <a:pt x="710486" y="972679"/>
                      <a:pt x="710486" y="972679"/>
                      <a:pt x="710486" y="1004888"/>
                    </a:cubicBezTo>
                    <a:cubicBezTo>
                      <a:pt x="710486" y="1004888"/>
                      <a:pt x="710486" y="1004888"/>
                      <a:pt x="44317" y="1004888"/>
                    </a:cubicBezTo>
                    <a:cubicBezTo>
                      <a:pt x="37884" y="1004888"/>
                      <a:pt x="31451" y="1000594"/>
                      <a:pt x="29307" y="993436"/>
                    </a:cubicBezTo>
                    <a:cubicBezTo>
                      <a:pt x="29307" y="993436"/>
                      <a:pt x="29307" y="993436"/>
                      <a:pt x="716" y="901820"/>
                    </a:cubicBezTo>
                    <a:cubicBezTo>
                      <a:pt x="-714" y="896810"/>
                      <a:pt x="1" y="891799"/>
                      <a:pt x="2860" y="887505"/>
                    </a:cubicBezTo>
                    <a:cubicBezTo>
                      <a:pt x="6434" y="883926"/>
                      <a:pt x="10723" y="881063"/>
                      <a:pt x="15726" y="881063"/>
                    </a:cubicBezTo>
                    <a:close/>
                    <a:moveTo>
                      <a:pt x="808595" y="80963"/>
                    </a:moveTo>
                    <a:cubicBezTo>
                      <a:pt x="808595" y="80963"/>
                      <a:pt x="808595" y="80963"/>
                      <a:pt x="1399614" y="80963"/>
                    </a:cubicBezTo>
                    <a:cubicBezTo>
                      <a:pt x="1408190" y="80963"/>
                      <a:pt x="1415336" y="88097"/>
                      <a:pt x="1415336" y="96658"/>
                    </a:cubicBezTo>
                    <a:cubicBezTo>
                      <a:pt x="1415336" y="96658"/>
                      <a:pt x="1415336" y="96658"/>
                      <a:pt x="1412478" y="833618"/>
                    </a:cubicBezTo>
                    <a:cubicBezTo>
                      <a:pt x="1412478" y="842179"/>
                      <a:pt x="1405331" y="849313"/>
                      <a:pt x="1396755" y="849313"/>
                    </a:cubicBezTo>
                    <a:cubicBezTo>
                      <a:pt x="1396755" y="849313"/>
                      <a:pt x="1396755" y="849313"/>
                      <a:pt x="805736" y="849313"/>
                    </a:cubicBezTo>
                    <a:cubicBezTo>
                      <a:pt x="805736" y="849313"/>
                      <a:pt x="805736" y="849313"/>
                      <a:pt x="805736" y="817923"/>
                    </a:cubicBezTo>
                    <a:cubicBezTo>
                      <a:pt x="805736" y="817923"/>
                      <a:pt x="805736" y="817923"/>
                      <a:pt x="1381033" y="817923"/>
                    </a:cubicBezTo>
                    <a:cubicBezTo>
                      <a:pt x="1381033" y="817923"/>
                      <a:pt x="1381033" y="817923"/>
                      <a:pt x="1383891" y="112353"/>
                    </a:cubicBezTo>
                    <a:cubicBezTo>
                      <a:pt x="1383891" y="112353"/>
                      <a:pt x="1383891" y="112353"/>
                      <a:pt x="808595" y="112353"/>
                    </a:cubicBezTo>
                    <a:cubicBezTo>
                      <a:pt x="808595" y="112353"/>
                      <a:pt x="808595" y="112353"/>
                      <a:pt x="808595" y="80963"/>
                    </a:cubicBezTo>
                    <a:close/>
                    <a:moveTo>
                      <a:pt x="121038" y="80963"/>
                    </a:moveTo>
                    <a:cubicBezTo>
                      <a:pt x="121038" y="80963"/>
                      <a:pt x="121038" y="80963"/>
                      <a:pt x="609345" y="80963"/>
                    </a:cubicBezTo>
                    <a:lnTo>
                      <a:pt x="712074" y="80963"/>
                    </a:lnTo>
                    <a:lnTo>
                      <a:pt x="713662" y="80963"/>
                    </a:lnTo>
                    <a:cubicBezTo>
                      <a:pt x="713662" y="80963"/>
                      <a:pt x="713662" y="80963"/>
                      <a:pt x="713662" y="94206"/>
                    </a:cubicBezTo>
                    <a:lnTo>
                      <a:pt x="713662" y="111126"/>
                    </a:lnTo>
                    <a:lnTo>
                      <a:pt x="713662" y="112353"/>
                    </a:lnTo>
                    <a:cubicBezTo>
                      <a:pt x="713662" y="112353"/>
                      <a:pt x="713662" y="112353"/>
                      <a:pt x="136746" y="112353"/>
                    </a:cubicBezTo>
                    <a:cubicBezTo>
                      <a:pt x="136746" y="112353"/>
                      <a:pt x="136746" y="112353"/>
                      <a:pt x="133890" y="817923"/>
                    </a:cubicBezTo>
                    <a:cubicBezTo>
                      <a:pt x="133890" y="817923"/>
                      <a:pt x="133890" y="817923"/>
                      <a:pt x="710806" y="817923"/>
                    </a:cubicBezTo>
                    <a:cubicBezTo>
                      <a:pt x="710806" y="817923"/>
                      <a:pt x="710806" y="817923"/>
                      <a:pt x="710806" y="849313"/>
                    </a:cubicBezTo>
                    <a:cubicBezTo>
                      <a:pt x="710806" y="849313"/>
                      <a:pt x="710806" y="849313"/>
                      <a:pt x="118182" y="849313"/>
                    </a:cubicBezTo>
                    <a:cubicBezTo>
                      <a:pt x="109614" y="849313"/>
                      <a:pt x="102474" y="842179"/>
                      <a:pt x="102474" y="833618"/>
                    </a:cubicBezTo>
                    <a:cubicBezTo>
                      <a:pt x="102474" y="833618"/>
                      <a:pt x="102474" y="833618"/>
                      <a:pt x="105330" y="96658"/>
                    </a:cubicBezTo>
                    <a:cubicBezTo>
                      <a:pt x="105330" y="88097"/>
                      <a:pt x="112470" y="80963"/>
                      <a:pt x="121038" y="80963"/>
                    </a:cubicBezTo>
                    <a:close/>
                    <a:moveTo>
                      <a:pt x="759256" y="0"/>
                    </a:moveTo>
                    <a:cubicBezTo>
                      <a:pt x="766973" y="0"/>
                      <a:pt x="773987" y="7139"/>
                      <a:pt x="773987" y="15706"/>
                    </a:cubicBezTo>
                    <a:cubicBezTo>
                      <a:pt x="773987" y="1070144"/>
                      <a:pt x="773987" y="1070144"/>
                      <a:pt x="773987" y="1070144"/>
                    </a:cubicBezTo>
                    <a:cubicBezTo>
                      <a:pt x="773987" y="1078711"/>
                      <a:pt x="766973" y="1085850"/>
                      <a:pt x="759256" y="1085850"/>
                    </a:cubicBezTo>
                    <a:cubicBezTo>
                      <a:pt x="750137" y="1085850"/>
                      <a:pt x="743824" y="1078711"/>
                      <a:pt x="743824" y="1070144"/>
                    </a:cubicBezTo>
                    <a:cubicBezTo>
                      <a:pt x="743824" y="15706"/>
                      <a:pt x="743824" y="15706"/>
                      <a:pt x="743824" y="15706"/>
                    </a:cubicBezTo>
                    <a:cubicBezTo>
                      <a:pt x="743824" y="7139"/>
                      <a:pt x="750137" y="0"/>
                      <a:pt x="75925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2" name="Freeform 11"/>
              <p:cNvSpPr>
                <a:spLocks/>
              </p:cNvSpPr>
              <p:nvPr/>
            </p:nvSpPr>
            <p:spPr bwMode="auto">
              <a:xfrm>
                <a:off x="5500687" y="2938463"/>
                <a:ext cx="1185862" cy="646113"/>
              </a:xfrm>
              <a:custGeom>
                <a:avLst/>
                <a:gdLst>
                  <a:gd name="connsiteX0" fmla="*/ 898496 w 1185862"/>
                  <a:gd name="connsiteY0" fmla="*/ 312737 h 646113"/>
                  <a:gd name="connsiteX1" fmla="*/ 960016 w 1185862"/>
                  <a:gd name="connsiteY1" fmla="*/ 327739 h 646113"/>
                  <a:gd name="connsiteX2" fmla="*/ 977900 w 1185862"/>
                  <a:gd name="connsiteY2" fmla="*/ 374888 h 646113"/>
                  <a:gd name="connsiteX3" fmla="*/ 959301 w 1185862"/>
                  <a:gd name="connsiteY3" fmla="*/ 425609 h 646113"/>
                  <a:gd name="connsiteX4" fmla="*/ 897780 w 1185862"/>
                  <a:gd name="connsiteY4" fmla="*/ 441325 h 646113"/>
                  <a:gd name="connsiteX5" fmla="*/ 862012 w 1185862"/>
                  <a:gd name="connsiteY5" fmla="*/ 439182 h 646113"/>
                  <a:gd name="connsiteX6" fmla="*/ 862012 w 1185862"/>
                  <a:gd name="connsiteY6" fmla="*/ 314166 h 646113"/>
                  <a:gd name="connsiteX7" fmla="*/ 898496 w 1185862"/>
                  <a:gd name="connsiteY7" fmla="*/ 312737 h 646113"/>
                  <a:gd name="connsiteX8" fmla="*/ 277813 w 1185862"/>
                  <a:gd name="connsiteY8" fmla="*/ 230187 h 646113"/>
                  <a:gd name="connsiteX9" fmla="*/ 323850 w 1185862"/>
                  <a:gd name="connsiteY9" fmla="*/ 374650 h 646113"/>
                  <a:gd name="connsiteX10" fmla="*/ 227012 w 1185862"/>
                  <a:gd name="connsiteY10" fmla="*/ 374650 h 646113"/>
                  <a:gd name="connsiteX11" fmla="*/ 902244 w 1185862"/>
                  <a:gd name="connsiteY11" fmla="*/ 182562 h 646113"/>
                  <a:gd name="connsiteX12" fmla="*/ 960437 w 1185862"/>
                  <a:gd name="connsiteY12" fmla="*/ 228542 h 646113"/>
                  <a:gd name="connsiteX13" fmla="*/ 897215 w 1185862"/>
                  <a:gd name="connsiteY13" fmla="*/ 280987 h 646113"/>
                  <a:gd name="connsiteX14" fmla="*/ 862012 w 1185862"/>
                  <a:gd name="connsiteY14" fmla="*/ 279550 h 646113"/>
                  <a:gd name="connsiteX15" fmla="*/ 862012 w 1185862"/>
                  <a:gd name="connsiteY15" fmla="*/ 183999 h 646113"/>
                  <a:gd name="connsiteX16" fmla="*/ 902244 w 1185862"/>
                  <a:gd name="connsiteY16" fmla="*/ 182562 h 646113"/>
                  <a:gd name="connsiteX17" fmla="*/ 903739 w 1185862"/>
                  <a:gd name="connsiteY17" fmla="*/ 146050 h 646113"/>
                  <a:gd name="connsiteX18" fmla="*/ 817562 w 1185862"/>
                  <a:gd name="connsiteY18" fmla="*/ 148903 h 646113"/>
                  <a:gd name="connsiteX19" fmla="*/ 817562 w 1185862"/>
                  <a:gd name="connsiteY19" fmla="*/ 476250 h 646113"/>
                  <a:gd name="connsiteX20" fmla="*/ 910861 w 1185862"/>
                  <a:gd name="connsiteY20" fmla="*/ 476250 h 646113"/>
                  <a:gd name="connsiteX21" fmla="*/ 993476 w 1185862"/>
                  <a:gd name="connsiteY21" fmla="*/ 450576 h 646113"/>
                  <a:gd name="connsiteX22" fmla="*/ 1025525 w 1185862"/>
                  <a:gd name="connsiteY22" fmla="*/ 381398 h 646113"/>
                  <a:gd name="connsiteX23" fmla="*/ 1007720 w 1185862"/>
                  <a:gd name="connsiteY23" fmla="*/ 322918 h 646113"/>
                  <a:gd name="connsiteX24" fmla="*/ 950744 w 1185862"/>
                  <a:gd name="connsiteY24" fmla="*/ 291538 h 646113"/>
                  <a:gd name="connsiteX25" fmla="*/ 988491 w 1185862"/>
                  <a:gd name="connsiteY25" fmla="*/ 268003 h 646113"/>
                  <a:gd name="connsiteX26" fmla="*/ 1005584 w 1185862"/>
                  <a:gd name="connsiteY26" fmla="*/ 226639 h 646113"/>
                  <a:gd name="connsiteX27" fmla="*/ 978520 w 1185862"/>
                  <a:gd name="connsiteY27" fmla="*/ 166732 h 646113"/>
                  <a:gd name="connsiteX28" fmla="*/ 903739 w 1185862"/>
                  <a:gd name="connsiteY28" fmla="*/ 146050 h 646113"/>
                  <a:gd name="connsiteX29" fmla="*/ 274004 w 1185862"/>
                  <a:gd name="connsiteY29" fmla="*/ 144462 h 646113"/>
                  <a:gd name="connsiteX30" fmla="*/ 141287 w 1185862"/>
                  <a:gd name="connsiteY30" fmla="*/ 476250 h 646113"/>
                  <a:gd name="connsiteX31" fmla="*/ 191234 w 1185862"/>
                  <a:gd name="connsiteY31" fmla="*/ 476250 h 646113"/>
                  <a:gd name="connsiteX32" fmla="*/ 215495 w 1185862"/>
                  <a:gd name="connsiteY32" fmla="*/ 407038 h 646113"/>
                  <a:gd name="connsiteX33" fmla="*/ 336795 w 1185862"/>
                  <a:gd name="connsiteY33" fmla="*/ 407038 h 646113"/>
                  <a:gd name="connsiteX34" fmla="*/ 359628 w 1185862"/>
                  <a:gd name="connsiteY34" fmla="*/ 476250 h 646113"/>
                  <a:gd name="connsiteX35" fmla="*/ 409575 w 1185862"/>
                  <a:gd name="connsiteY35" fmla="*/ 476250 h 646113"/>
                  <a:gd name="connsiteX36" fmla="*/ 286134 w 1185862"/>
                  <a:gd name="connsiteY36" fmla="*/ 144462 h 646113"/>
                  <a:gd name="connsiteX37" fmla="*/ 274004 w 1185862"/>
                  <a:gd name="connsiteY37" fmla="*/ 144462 h 646113"/>
                  <a:gd name="connsiteX38" fmla="*/ 642621 w 1185862"/>
                  <a:gd name="connsiteY38" fmla="*/ 0 h 646113"/>
                  <a:gd name="connsiteX39" fmla="*/ 1178714 w 1185862"/>
                  <a:gd name="connsiteY39" fmla="*/ 0 h 646113"/>
                  <a:gd name="connsiteX40" fmla="*/ 1185862 w 1185862"/>
                  <a:gd name="connsiteY40" fmla="*/ 7139 h 646113"/>
                  <a:gd name="connsiteX41" fmla="*/ 1183003 w 1185862"/>
                  <a:gd name="connsiteY41" fmla="*/ 638974 h 646113"/>
                  <a:gd name="connsiteX42" fmla="*/ 1175855 w 1185862"/>
                  <a:gd name="connsiteY42" fmla="*/ 646113 h 646113"/>
                  <a:gd name="connsiteX43" fmla="*/ 639762 w 1185862"/>
                  <a:gd name="connsiteY43" fmla="*/ 646113 h 646113"/>
                  <a:gd name="connsiteX44" fmla="*/ 642621 w 1185862"/>
                  <a:gd name="connsiteY44" fmla="*/ 0 h 646113"/>
                  <a:gd name="connsiteX45" fmla="*/ 10013 w 1185862"/>
                  <a:gd name="connsiteY45" fmla="*/ 0 h 646113"/>
                  <a:gd name="connsiteX46" fmla="*/ 549275 w 1185862"/>
                  <a:gd name="connsiteY46" fmla="*/ 0 h 646113"/>
                  <a:gd name="connsiteX47" fmla="*/ 546414 w 1185862"/>
                  <a:gd name="connsiteY47" fmla="*/ 646113 h 646113"/>
                  <a:gd name="connsiteX48" fmla="*/ 7152 w 1185862"/>
                  <a:gd name="connsiteY48" fmla="*/ 646113 h 646113"/>
                  <a:gd name="connsiteX49" fmla="*/ 0 w 1185862"/>
                  <a:gd name="connsiteY49" fmla="*/ 638974 h 646113"/>
                  <a:gd name="connsiteX50" fmla="*/ 2861 w 1185862"/>
                  <a:gd name="connsiteY50" fmla="*/ 7139 h 646113"/>
                  <a:gd name="connsiteX51" fmla="*/ 10013 w 1185862"/>
                  <a:gd name="connsiteY51"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85862" h="646113">
                    <a:moveTo>
                      <a:pt x="898496" y="312737"/>
                    </a:moveTo>
                    <a:cubicBezTo>
                      <a:pt x="927110" y="312737"/>
                      <a:pt x="947855" y="317738"/>
                      <a:pt x="960016" y="327739"/>
                    </a:cubicBezTo>
                    <a:cubicBezTo>
                      <a:pt x="972177" y="338455"/>
                      <a:pt x="977900" y="354171"/>
                      <a:pt x="977900" y="374888"/>
                    </a:cubicBezTo>
                    <a:cubicBezTo>
                      <a:pt x="977900" y="398462"/>
                      <a:pt x="972177" y="414893"/>
                      <a:pt x="959301" y="425609"/>
                    </a:cubicBezTo>
                    <a:cubicBezTo>
                      <a:pt x="946424" y="436324"/>
                      <a:pt x="925679" y="441325"/>
                      <a:pt x="897780" y="441325"/>
                    </a:cubicBezTo>
                    <a:cubicBezTo>
                      <a:pt x="889196" y="441325"/>
                      <a:pt x="877750" y="440611"/>
                      <a:pt x="862012" y="439182"/>
                    </a:cubicBezTo>
                    <a:cubicBezTo>
                      <a:pt x="862012" y="314166"/>
                      <a:pt x="862012" y="314166"/>
                      <a:pt x="862012" y="314166"/>
                    </a:cubicBezTo>
                    <a:cubicBezTo>
                      <a:pt x="898496" y="312737"/>
                      <a:pt x="898496" y="312737"/>
                      <a:pt x="898496" y="312737"/>
                    </a:cubicBezTo>
                    <a:close/>
                    <a:moveTo>
                      <a:pt x="277813" y="230187"/>
                    </a:moveTo>
                    <a:lnTo>
                      <a:pt x="323850" y="374650"/>
                    </a:lnTo>
                    <a:lnTo>
                      <a:pt x="227012" y="374650"/>
                    </a:lnTo>
                    <a:close/>
                    <a:moveTo>
                      <a:pt x="902244" y="182562"/>
                    </a:moveTo>
                    <a:cubicBezTo>
                      <a:pt x="941040" y="182562"/>
                      <a:pt x="960437" y="197649"/>
                      <a:pt x="960437" y="228542"/>
                    </a:cubicBezTo>
                    <a:cubicBezTo>
                      <a:pt x="960437" y="263745"/>
                      <a:pt x="938884" y="280987"/>
                      <a:pt x="897215" y="280987"/>
                    </a:cubicBezTo>
                    <a:cubicBezTo>
                      <a:pt x="883565" y="280987"/>
                      <a:pt x="871352" y="280269"/>
                      <a:pt x="862012" y="279550"/>
                    </a:cubicBezTo>
                    <a:cubicBezTo>
                      <a:pt x="862012" y="183999"/>
                      <a:pt x="862012" y="183999"/>
                      <a:pt x="862012" y="183999"/>
                    </a:cubicBezTo>
                    <a:cubicBezTo>
                      <a:pt x="874226" y="183281"/>
                      <a:pt x="887157" y="182562"/>
                      <a:pt x="902244" y="182562"/>
                    </a:cubicBezTo>
                    <a:close/>
                    <a:moveTo>
                      <a:pt x="903739" y="146050"/>
                    </a:moveTo>
                    <a:cubicBezTo>
                      <a:pt x="885934" y="146050"/>
                      <a:pt x="857446" y="146763"/>
                      <a:pt x="817562" y="148903"/>
                    </a:cubicBezTo>
                    <a:cubicBezTo>
                      <a:pt x="817562" y="148903"/>
                      <a:pt x="817562" y="148903"/>
                      <a:pt x="817562" y="476250"/>
                    </a:cubicBezTo>
                    <a:cubicBezTo>
                      <a:pt x="817562" y="476250"/>
                      <a:pt x="817562" y="476250"/>
                      <a:pt x="910861" y="476250"/>
                    </a:cubicBezTo>
                    <a:cubicBezTo>
                      <a:pt x="945046" y="476250"/>
                      <a:pt x="972822" y="467692"/>
                      <a:pt x="993476" y="450576"/>
                    </a:cubicBezTo>
                    <a:cubicBezTo>
                      <a:pt x="1014842" y="433460"/>
                      <a:pt x="1025525" y="410638"/>
                      <a:pt x="1025525" y="381398"/>
                    </a:cubicBezTo>
                    <a:cubicBezTo>
                      <a:pt x="1025525" y="357150"/>
                      <a:pt x="1019115" y="337181"/>
                      <a:pt x="1007720" y="322918"/>
                    </a:cubicBezTo>
                    <a:cubicBezTo>
                      <a:pt x="995613" y="307941"/>
                      <a:pt x="977096" y="297956"/>
                      <a:pt x="950744" y="291538"/>
                    </a:cubicBezTo>
                    <a:cubicBezTo>
                      <a:pt x="964276" y="288685"/>
                      <a:pt x="977096" y="280840"/>
                      <a:pt x="988491" y="268003"/>
                    </a:cubicBezTo>
                    <a:cubicBezTo>
                      <a:pt x="999886" y="255879"/>
                      <a:pt x="1005584" y="241616"/>
                      <a:pt x="1005584" y="226639"/>
                    </a:cubicBezTo>
                    <a:cubicBezTo>
                      <a:pt x="1005584" y="200965"/>
                      <a:pt x="996325" y="180996"/>
                      <a:pt x="978520" y="166732"/>
                    </a:cubicBezTo>
                    <a:cubicBezTo>
                      <a:pt x="960715" y="153182"/>
                      <a:pt x="935788" y="146050"/>
                      <a:pt x="903739" y="146050"/>
                    </a:cubicBezTo>
                    <a:close/>
                    <a:moveTo>
                      <a:pt x="274004" y="144462"/>
                    </a:moveTo>
                    <a:cubicBezTo>
                      <a:pt x="274004" y="144462"/>
                      <a:pt x="274004" y="144462"/>
                      <a:pt x="141287" y="476250"/>
                    </a:cubicBezTo>
                    <a:cubicBezTo>
                      <a:pt x="141287" y="476250"/>
                      <a:pt x="141287" y="476250"/>
                      <a:pt x="191234" y="476250"/>
                    </a:cubicBezTo>
                    <a:cubicBezTo>
                      <a:pt x="191234" y="476250"/>
                      <a:pt x="191234" y="476250"/>
                      <a:pt x="215495" y="407038"/>
                    </a:cubicBezTo>
                    <a:cubicBezTo>
                      <a:pt x="215495" y="407038"/>
                      <a:pt x="215495" y="407038"/>
                      <a:pt x="336795" y="407038"/>
                    </a:cubicBezTo>
                    <a:cubicBezTo>
                      <a:pt x="336795" y="407038"/>
                      <a:pt x="336795" y="407038"/>
                      <a:pt x="359628" y="476250"/>
                    </a:cubicBezTo>
                    <a:cubicBezTo>
                      <a:pt x="359628" y="476250"/>
                      <a:pt x="359628" y="476250"/>
                      <a:pt x="409575" y="476250"/>
                    </a:cubicBezTo>
                    <a:cubicBezTo>
                      <a:pt x="409575" y="476250"/>
                      <a:pt x="409575" y="476250"/>
                      <a:pt x="286134" y="144462"/>
                    </a:cubicBezTo>
                    <a:cubicBezTo>
                      <a:pt x="286134" y="144462"/>
                      <a:pt x="286134" y="144462"/>
                      <a:pt x="274004" y="144462"/>
                    </a:cubicBezTo>
                    <a:close/>
                    <a:moveTo>
                      <a:pt x="642621" y="0"/>
                    </a:moveTo>
                    <a:cubicBezTo>
                      <a:pt x="642621" y="0"/>
                      <a:pt x="642621" y="0"/>
                      <a:pt x="1178714" y="0"/>
                    </a:cubicBezTo>
                    <a:cubicBezTo>
                      <a:pt x="1183003" y="0"/>
                      <a:pt x="1185862" y="2856"/>
                      <a:pt x="1185862" y="7139"/>
                    </a:cubicBezTo>
                    <a:cubicBezTo>
                      <a:pt x="1185862" y="7139"/>
                      <a:pt x="1185862" y="7139"/>
                      <a:pt x="1183003" y="638974"/>
                    </a:cubicBezTo>
                    <a:cubicBezTo>
                      <a:pt x="1183003" y="643257"/>
                      <a:pt x="1180144" y="646113"/>
                      <a:pt x="1175855" y="646113"/>
                    </a:cubicBezTo>
                    <a:cubicBezTo>
                      <a:pt x="1175855" y="646113"/>
                      <a:pt x="1175855" y="646113"/>
                      <a:pt x="639762" y="646113"/>
                    </a:cubicBezTo>
                    <a:cubicBezTo>
                      <a:pt x="639762" y="646113"/>
                      <a:pt x="639762" y="646113"/>
                      <a:pt x="642621" y="0"/>
                    </a:cubicBezTo>
                    <a:close/>
                    <a:moveTo>
                      <a:pt x="10013" y="0"/>
                    </a:moveTo>
                    <a:cubicBezTo>
                      <a:pt x="10013" y="0"/>
                      <a:pt x="10013" y="0"/>
                      <a:pt x="549275" y="0"/>
                    </a:cubicBezTo>
                    <a:cubicBezTo>
                      <a:pt x="549275" y="0"/>
                      <a:pt x="549275" y="0"/>
                      <a:pt x="546414" y="646113"/>
                    </a:cubicBezTo>
                    <a:cubicBezTo>
                      <a:pt x="546414" y="646113"/>
                      <a:pt x="546414" y="646113"/>
                      <a:pt x="7152" y="646113"/>
                    </a:cubicBezTo>
                    <a:cubicBezTo>
                      <a:pt x="2861" y="646113"/>
                      <a:pt x="0" y="643257"/>
                      <a:pt x="0" y="638974"/>
                    </a:cubicBezTo>
                    <a:cubicBezTo>
                      <a:pt x="0" y="638974"/>
                      <a:pt x="0" y="638974"/>
                      <a:pt x="2861" y="7139"/>
                    </a:cubicBezTo>
                    <a:cubicBezTo>
                      <a:pt x="2861" y="2856"/>
                      <a:pt x="5722" y="0"/>
                      <a:pt x="100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8" name="Group 17"/>
          <p:cNvGrpSpPr>
            <a:grpSpLocks noChangeAspect="1"/>
          </p:cNvGrpSpPr>
          <p:nvPr/>
        </p:nvGrpSpPr>
        <p:grpSpPr>
          <a:xfrm>
            <a:off x="3533284" y="3736127"/>
            <a:ext cx="982931" cy="983842"/>
            <a:chOff x="5273801" y="2606040"/>
            <a:chExt cx="1644396" cy="1645920"/>
          </a:xfrm>
        </p:grpSpPr>
        <p:sp>
          <p:nvSpPr>
            <p:cNvPr id="19" name="AutoShape 34">
              <a:extLst>
                <a:ext uri="{FF2B5EF4-FFF2-40B4-BE49-F238E27FC236}">
                  <a16:creationId xmlns:a16="http://schemas.microsoft.com/office/drawing/2014/main"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0" name="Group 19"/>
            <p:cNvGrpSpPr/>
            <p:nvPr/>
          </p:nvGrpSpPr>
          <p:grpSpPr>
            <a:xfrm>
              <a:off x="5724143" y="2796921"/>
              <a:ext cx="745236" cy="1259967"/>
              <a:chOff x="5724143" y="2796921"/>
              <a:chExt cx="745236" cy="1259967"/>
            </a:xfrm>
          </p:grpSpPr>
          <p:sp>
            <p:nvSpPr>
              <p:cNvPr id="21" name="Freeform 36">
                <a:extLst>
                  <a:ext uri="{FF2B5EF4-FFF2-40B4-BE49-F238E27FC236}">
                    <a16:creationId xmlns:a16="http://schemas.microsoft.com/office/drawing/2014/main"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37">
                <a:extLst>
                  <a:ext uri="{FF2B5EF4-FFF2-40B4-BE49-F238E27FC236}">
                    <a16:creationId xmlns:a16="http://schemas.microsoft.com/office/drawing/2014/main"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3" name="bcgIcons_LogicTree">
            <a:extLst>
              <a:ext uri="{FF2B5EF4-FFF2-40B4-BE49-F238E27FC236}">
                <a16:creationId xmlns:a16="http://schemas.microsoft.com/office/drawing/2014/main" id="{75517C07-F054-4829-ABCD-E121AE22A1D1}"/>
              </a:ext>
            </a:extLst>
          </p:cNvPr>
          <p:cNvGrpSpPr>
            <a:grpSpLocks noChangeAspect="1"/>
          </p:cNvGrpSpPr>
          <p:nvPr/>
        </p:nvGrpSpPr>
        <p:grpSpPr bwMode="auto">
          <a:xfrm>
            <a:off x="909820" y="1685451"/>
            <a:ext cx="982932" cy="983842"/>
            <a:chOff x="1682" y="0"/>
            <a:chExt cx="4316" cy="4320"/>
          </a:xfrm>
        </p:grpSpPr>
        <p:sp>
          <p:nvSpPr>
            <p:cNvPr id="24" name="AutoShape 3">
              <a:extLst>
                <a:ext uri="{FF2B5EF4-FFF2-40B4-BE49-F238E27FC236}">
                  <a16:creationId xmlns:a16="http://schemas.microsoft.com/office/drawing/2014/main" id="{0752A4AF-84B3-4F20-B02C-7CECC8D059F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5">
              <a:extLst>
                <a:ext uri="{FF2B5EF4-FFF2-40B4-BE49-F238E27FC236}">
                  <a16:creationId xmlns:a16="http://schemas.microsoft.com/office/drawing/2014/main" id="{0543821B-2536-48B5-A624-D843C5D76085}"/>
                </a:ext>
              </a:extLst>
            </p:cNvPr>
            <p:cNvSpPr>
              <a:spLocks noEditPoints="1"/>
            </p:cNvSpPr>
            <p:nvPr/>
          </p:nvSpPr>
          <p:spPr bwMode="auto">
            <a:xfrm>
              <a:off x="2126" y="446"/>
              <a:ext cx="3424" cy="3428"/>
            </a:xfrm>
            <a:custGeom>
              <a:avLst/>
              <a:gdLst>
                <a:gd name="T0" fmla="*/ 914 w 1828"/>
                <a:gd name="T1" fmla="*/ 491 h 1828"/>
                <a:gd name="T2" fmla="*/ 668 w 1828"/>
                <a:gd name="T3" fmla="*/ 246 h 1828"/>
                <a:gd name="T4" fmla="*/ 914 w 1828"/>
                <a:gd name="T5" fmla="*/ 0 h 1828"/>
                <a:gd name="T6" fmla="*/ 1160 w 1828"/>
                <a:gd name="T7" fmla="*/ 246 h 1828"/>
                <a:gd name="T8" fmla="*/ 914 w 1828"/>
                <a:gd name="T9" fmla="*/ 491 h 1828"/>
                <a:gd name="T10" fmla="*/ 881 w 1828"/>
                <a:gd name="T11" fmla="*/ 1704 h 1828"/>
                <a:gd name="T12" fmla="*/ 757 w 1828"/>
                <a:gd name="T13" fmla="*/ 1580 h 1828"/>
                <a:gd name="T14" fmla="*/ 633 w 1828"/>
                <a:gd name="T15" fmla="*/ 1704 h 1828"/>
                <a:gd name="T16" fmla="*/ 757 w 1828"/>
                <a:gd name="T17" fmla="*/ 1828 h 1828"/>
                <a:gd name="T18" fmla="*/ 881 w 1828"/>
                <a:gd name="T19" fmla="*/ 1704 h 1828"/>
                <a:gd name="T20" fmla="*/ 1195 w 1828"/>
                <a:gd name="T21" fmla="*/ 1704 h 1828"/>
                <a:gd name="T22" fmla="*/ 1071 w 1828"/>
                <a:gd name="T23" fmla="*/ 1580 h 1828"/>
                <a:gd name="T24" fmla="*/ 947 w 1828"/>
                <a:gd name="T25" fmla="*/ 1704 h 1828"/>
                <a:gd name="T26" fmla="*/ 1071 w 1828"/>
                <a:gd name="T27" fmla="*/ 1828 h 1828"/>
                <a:gd name="T28" fmla="*/ 1195 w 1828"/>
                <a:gd name="T29" fmla="*/ 1704 h 1828"/>
                <a:gd name="T30" fmla="*/ 1513 w 1828"/>
                <a:gd name="T31" fmla="*/ 1704 h 1828"/>
                <a:gd name="T32" fmla="*/ 1389 w 1828"/>
                <a:gd name="T33" fmla="*/ 1580 h 1828"/>
                <a:gd name="T34" fmla="*/ 1265 w 1828"/>
                <a:gd name="T35" fmla="*/ 1704 h 1828"/>
                <a:gd name="T36" fmla="*/ 1389 w 1828"/>
                <a:gd name="T37" fmla="*/ 1828 h 1828"/>
                <a:gd name="T38" fmla="*/ 1513 w 1828"/>
                <a:gd name="T39" fmla="*/ 1704 h 1828"/>
                <a:gd name="T40" fmla="*/ 1828 w 1828"/>
                <a:gd name="T41" fmla="*/ 1704 h 1828"/>
                <a:gd name="T42" fmla="*/ 1704 w 1828"/>
                <a:gd name="T43" fmla="*/ 1580 h 1828"/>
                <a:gd name="T44" fmla="*/ 1580 w 1828"/>
                <a:gd name="T45" fmla="*/ 1704 h 1828"/>
                <a:gd name="T46" fmla="*/ 1704 w 1828"/>
                <a:gd name="T47" fmla="*/ 1828 h 1828"/>
                <a:gd name="T48" fmla="*/ 1828 w 1828"/>
                <a:gd name="T49" fmla="*/ 1704 h 1828"/>
                <a:gd name="T50" fmla="*/ 248 w 1828"/>
                <a:gd name="T51" fmla="*/ 1704 h 1828"/>
                <a:gd name="T52" fmla="*/ 124 w 1828"/>
                <a:gd name="T53" fmla="*/ 1580 h 1828"/>
                <a:gd name="T54" fmla="*/ 0 w 1828"/>
                <a:gd name="T55" fmla="*/ 1704 h 1828"/>
                <a:gd name="T56" fmla="*/ 124 w 1828"/>
                <a:gd name="T57" fmla="*/ 1828 h 1828"/>
                <a:gd name="T58" fmla="*/ 248 w 1828"/>
                <a:gd name="T59" fmla="*/ 1704 h 1828"/>
                <a:gd name="T60" fmla="*/ 563 w 1828"/>
                <a:gd name="T61" fmla="*/ 1704 h 1828"/>
                <a:gd name="T62" fmla="*/ 439 w 1828"/>
                <a:gd name="T63" fmla="*/ 1580 h 1828"/>
                <a:gd name="T64" fmla="*/ 315 w 1828"/>
                <a:gd name="T65" fmla="*/ 1704 h 1828"/>
                <a:gd name="T66" fmla="*/ 439 w 1828"/>
                <a:gd name="T67" fmla="*/ 1828 h 1828"/>
                <a:gd name="T68" fmla="*/ 563 w 1828"/>
                <a:gd name="T69" fmla="*/ 1704 h 1828"/>
                <a:gd name="T70" fmla="*/ 468 w 1828"/>
                <a:gd name="T71" fmla="*/ 1200 h 1828"/>
                <a:gd name="T72" fmla="*/ 468 w 1828"/>
                <a:gd name="T73" fmla="*/ 871 h 1828"/>
                <a:gd name="T74" fmla="*/ 446 w 1828"/>
                <a:gd name="T75" fmla="*/ 849 h 1828"/>
                <a:gd name="T76" fmla="*/ 117 w 1828"/>
                <a:gd name="T77" fmla="*/ 849 h 1828"/>
                <a:gd name="T78" fmla="*/ 95 w 1828"/>
                <a:gd name="T79" fmla="*/ 871 h 1828"/>
                <a:gd name="T80" fmla="*/ 95 w 1828"/>
                <a:gd name="T81" fmla="*/ 1200 h 1828"/>
                <a:gd name="T82" fmla="*/ 117 w 1828"/>
                <a:gd name="T83" fmla="*/ 1222 h 1828"/>
                <a:gd name="T84" fmla="*/ 446 w 1828"/>
                <a:gd name="T85" fmla="*/ 1222 h 1828"/>
                <a:gd name="T86" fmla="*/ 468 w 1828"/>
                <a:gd name="T87" fmla="*/ 1200 h 1828"/>
                <a:gd name="T88" fmla="*/ 1101 w 1828"/>
                <a:gd name="T89" fmla="*/ 1200 h 1828"/>
                <a:gd name="T90" fmla="*/ 1101 w 1828"/>
                <a:gd name="T91" fmla="*/ 871 h 1828"/>
                <a:gd name="T92" fmla="*/ 1079 w 1828"/>
                <a:gd name="T93" fmla="*/ 849 h 1828"/>
                <a:gd name="T94" fmla="*/ 749 w 1828"/>
                <a:gd name="T95" fmla="*/ 849 h 1828"/>
                <a:gd name="T96" fmla="*/ 727 w 1828"/>
                <a:gd name="T97" fmla="*/ 871 h 1828"/>
                <a:gd name="T98" fmla="*/ 727 w 1828"/>
                <a:gd name="T99" fmla="*/ 1200 h 1828"/>
                <a:gd name="T100" fmla="*/ 749 w 1828"/>
                <a:gd name="T101" fmla="*/ 1222 h 1828"/>
                <a:gd name="T102" fmla="*/ 1079 w 1828"/>
                <a:gd name="T103" fmla="*/ 1222 h 1828"/>
                <a:gd name="T104" fmla="*/ 1101 w 1828"/>
                <a:gd name="T105" fmla="*/ 1200 h 1828"/>
                <a:gd name="T106" fmla="*/ 1733 w 1828"/>
                <a:gd name="T107" fmla="*/ 1200 h 1828"/>
                <a:gd name="T108" fmla="*/ 1733 w 1828"/>
                <a:gd name="T109" fmla="*/ 871 h 1828"/>
                <a:gd name="T110" fmla="*/ 1711 w 1828"/>
                <a:gd name="T111" fmla="*/ 849 h 1828"/>
                <a:gd name="T112" fmla="*/ 1382 w 1828"/>
                <a:gd name="T113" fmla="*/ 849 h 1828"/>
                <a:gd name="T114" fmla="*/ 1360 w 1828"/>
                <a:gd name="T115" fmla="*/ 871 h 1828"/>
                <a:gd name="T116" fmla="*/ 1360 w 1828"/>
                <a:gd name="T117" fmla="*/ 1200 h 1828"/>
                <a:gd name="T118" fmla="*/ 1382 w 1828"/>
                <a:gd name="T119" fmla="*/ 1222 h 1828"/>
                <a:gd name="T120" fmla="*/ 1711 w 1828"/>
                <a:gd name="T121" fmla="*/ 1222 h 1828"/>
                <a:gd name="T122" fmla="*/ 1733 w 1828"/>
                <a:gd name="T123" fmla="*/ 120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8" h="1828">
                  <a:moveTo>
                    <a:pt x="914" y="491"/>
                  </a:moveTo>
                  <a:cubicBezTo>
                    <a:pt x="778" y="491"/>
                    <a:pt x="668" y="381"/>
                    <a:pt x="668" y="246"/>
                  </a:cubicBezTo>
                  <a:cubicBezTo>
                    <a:pt x="668" y="110"/>
                    <a:pt x="778" y="0"/>
                    <a:pt x="914" y="0"/>
                  </a:cubicBezTo>
                  <a:cubicBezTo>
                    <a:pt x="1050" y="0"/>
                    <a:pt x="1160" y="110"/>
                    <a:pt x="1160" y="246"/>
                  </a:cubicBezTo>
                  <a:cubicBezTo>
                    <a:pt x="1160" y="381"/>
                    <a:pt x="1050" y="491"/>
                    <a:pt x="914" y="491"/>
                  </a:cubicBezTo>
                  <a:close/>
                  <a:moveTo>
                    <a:pt x="881" y="1704"/>
                  </a:moveTo>
                  <a:cubicBezTo>
                    <a:pt x="881" y="1635"/>
                    <a:pt x="825" y="1580"/>
                    <a:pt x="757" y="1580"/>
                  </a:cubicBezTo>
                  <a:cubicBezTo>
                    <a:pt x="688" y="1580"/>
                    <a:pt x="633" y="1635"/>
                    <a:pt x="633" y="1704"/>
                  </a:cubicBezTo>
                  <a:cubicBezTo>
                    <a:pt x="633" y="1772"/>
                    <a:pt x="688" y="1828"/>
                    <a:pt x="757" y="1828"/>
                  </a:cubicBezTo>
                  <a:cubicBezTo>
                    <a:pt x="825" y="1828"/>
                    <a:pt x="881" y="1772"/>
                    <a:pt x="881" y="1704"/>
                  </a:cubicBezTo>
                  <a:close/>
                  <a:moveTo>
                    <a:pt x="1195" y="1704"/>
                  </a:moveTo>
                  <a:cubicBezTo>
                    <a:pt x="1195" y="1635"/>
                    <a:pt x="1140" y="1580"/>
                    <a:pt x="1071" y="1580"/>
                  </a:cubicBezTo>
                  <a:cubicBezTo>
                    <a:pt x="1003" y="1580"/>
                    <a:pt x="947" y="1635"/>
                    <a:pt x="947" y="1704"/>
                  </a:cubicBezTo>
                  <a:cubicBezTo>
                    <a:pt x="947" y="1772"/>
                    <a:pt x="1003" y="1828"/>
                    <a:pt x="1071" y="1828"/>
                  </a:cubicBezTo>
                  <a:cubicBezTo>
                    <a:pt x="1140" y="1828"/>
                    <a:pt x="1195" y="1772"/>
                    <a:pt x="1195" y="1704"/>
                  </a:cubicBezTo>
                  <a:close/>
                  <a:moveTo>
                    <a:pt x="1513" y="1704"/>
                  </a:moveTo>
                  <a:cubicBezTo>
                    <a:pt x="1513" y="1635"/>
                    <a:pt x="1458" y="1580"/>
                    <a:pt x="1389" y="1580"/>
                  </a:cubicBezTo>
                  <a:cubicBezTo>
                    <a:pt x="1321" y="1580"/>
                    <a:pt x="1265" y="1635"/>
                    <a:pt x="1265" y="1704"/>
                  </a:cubicBezTo>
                  <a:cubicBezTo>
                    <a:pt x="1265" y="1772"/>
                    <a:pt x="1321" y="1828"/>
                    <a:pt x="1389" y="1828"/>
                  </a:cubicBezTo>
                  <a:cubicBezTo>
                    <a:pt x="1458" y="1828"/>
                    <a:pt x="1513" y="1772"/>
                    <a:pt x="1513" y="1704"/>
                  </a:cubicBezTo>
                  <a:close/>
                  <a:moveTo>
                    <a:pt x="1828" y="1704"/>
                  </a:moveTo>
                  <a:cubicBezTo>
                    <a:pt x="1828" y="1635"/>
                    <a:pt x="1772" y="1580"/>
                    <a:pt x="1704" y="1580"/>
                  </a:cubicBezTo>
                  <a:cubicBezTo>
                    <a:pt x="1635" y="1580"/>
                    <a:pt x="1580" y="1635"/>
                    <a:pt x="1580" y="1704"/>
                  </a:cubicBezTo>
                  <a:cubicBezTo>
                    <a:pt x="1580" y="1772"/>
                    <a:pt x="1635" y="1828"/>
                    <a:pt x="1704" y="1828"/>
                  </a:cubicBezTo>
                  <a:cubicBezTo>
                    <a:pt x="1772" y="1828"/>
                    <a:pt x="1828" y="1772"/>
                    <a:pt x="1828" y="1704"/>
                  </a:cubicBezTo>
                  <a:close/>
                  <a:moveTo>
                    <a:pt x="248" y="1704"/>
                  </a:moveTo>
                  <a:cubicBezTo>
                    <a:pt x="248" y="1635"/>
                    <a:pt x="193" y="1580"/>
                    <a:pt x="124" y="1580"/>
                  </a:cubicBezTo>
                  <a:cubicBezTo>
                    <a:pt x="56" y="1580"/>
                    <a:pt x="0" y="1635"/>
                    <a:pt x="0" y="1704"/>
                  </a:cubicBezTo>
                  <a:cubicBezTo>
                    <a:pt x="0" y="1772"/>
                    <a:pt x="56" y="1828"/>
                    <a:pt x="124" y="1828"/>
                  </a:cubicBezTo>
                  <a:cubicBezTo>
                    <a:pt x="193" y="1828"/>
                    <a:pt x="248" y="1772"/>
                    <a:pt x="248" y="1704"/>
                  </a:cubicBezTo>
                  <a:close/>
                  <a:moveTo>
                    <a:pt x="563" y="1704"/>
                  </a:moveTo>
                  <a:cubicBezTo>
                    <a:pt x="563" y="1635"/>
                    <a:pt x="507" y="1580"/>
                    <a:pt x="439" y="1580"/>
                  </a:cubicBezTo>
                  <a:cubicBezTo>
                    <a:pt x="370" y="1580"/>
                    <a:pt x="315" y="1635"/>
                    <a:pt x="315" y="1704"/>
                  </a:cubicBezTo>
                  <a:cubicBezTo>
                    <a:pt x="315" y="1772"/>
                    <a:pt x="370" y="1828"/>
                    <a:pt x="439" y="1828"/>
                  </a:cubicBezTo>
                  <a:cubicBezTo>
                    <a:pt x="507" y="1828"/>
                    <a:pt x="563" y="1772"/>
                    <a:pt x="563" y="1704"/>
                  </a:cubicBezTo>
                  <a:close/>
                  <a:moveTo>
                    <a:pt x="468" y="1200"/>
                  </a:moveTo>
                  <a:cubicBezTo>
                    <a:pt x="468" y="871"/>
                    <a:pt x="468" y="871"/>
                    <a:pt x="468" y="871"/>
                  </a:cubicBezTo>
                  <a:cubicBezTo>
                    <a:pt x="468" y="859"/>
                    <a:pt x="458" y="849"/>
                    <a:pt x="446" y="849"/>
                  </a:cubicBezTo>
                  <a:cubicBezTo>
                    <a:pt x="117" y="849"/>
                    <a:pt x="117" y="849"/>
                    <a:pt x="117" y="849"/>
                  </a:cubicBezTo>
                  <a:cubicBezTo>
                    <a:pt x="105" y="849"/>
                    <a:pt x="95" y="859"/>
                    <a:pt x="95" y="871"/>
                  </a:cubicBezTo>
                  <a:cubicBezTo>
                    <a:pt x="95" y="1200"/>
                    <a:pt x="95" y="1200"/>
                    <a:pt x="95" y="1200"/>
                  </a:cubicBezTo>
                  <a:cubicBezTo>
                    <a:pt x="95" y="1212"/>
                    <a:pt x="105" y="1222"/>
                    <a:pt x="117" y="1222"/>
                  </a:cubicBezTo>
                  <a:cubicBezTo>
                    <a:pt x="446" y="1222"/>
                    <a:pt x="446" y="1222"/>
                    <a:pt x="446" y="1222"/>
                  </a:cubicBezTo>
                  <a:cubicBezTo>
                    <a:pt x="458" y="1222"/>
                    <a:pt x="468" y="1212"/>
                    <a:pt x="468" y="1200"/>
                  </a:cubicBezTo>
                  <a:close/>
                  <a:moveTo>
                    <a:pt x="1101" y="1200"/>
                  </a:moveTo>
                  <a:cubicBezTo>
                    <a:pt x="1101" y="871"/>
                    <a:pt x="1101" y="871"/>
                    <a:pt x="1101" y="871"/>
                  </a:cubicBezTo>
                  <a:cubicBezTo>
                    <a:pt x="1101" y="859"/>
                    <a:pt x="1091" y="849"/>
                    <a:pt x="1079" y="849"/>
                  </a:cubicBezTo>
                  <a:cubicBezTo>
                    <a:pt x="749" y="849"/>
                    <a:pt x="749" y="849"/>
                    <a:pt x="749" y="849"/>
                  </a:cubicBezTo>
                  <a:cubicBezTo>
                    <a:pt x="737" y="849"/>
                    <a:pt x="727" y="859"/>
                    <a:pt x="727" y="871"/>
                  </a:cubicBezTo>
                  <a:cubicBezTo>
                    <a:pt x="727" y="1200"/>
                    <a:pt x="727" y="1200"/>
                    <a:pt x="727" y="1200"/>
                  </a:cubicBezTo>
                  <a:cubicBezTo>
                    <a:pt x="727" y="1212"/>
                    <a:pt x="737" y="1222"/>
                    <a:pt x="749" y="1222"/>
                  </a:cubicBezTo>
                  <a:cubicBezTo>
                    <a:pt x="1079" y="1222"/>
                    <a:pt x="1079" y="1222"/>
                    <a:pt x="1079" y="1222"/>
                  </a:cubicBezTo>
                  <a:cubicBezTo>
                    <a:pt x="1091" y="1222"/>
                    <a:pt x="1101" y="1212"/>
                    <a:pt x="1101" y="1200"/>
                  </a:cubicBezTo>
                  <a:close/>
                  <a:moveTo>
                    <a:pt x="1733" y="1200"/>
                  </a:moveTo>
                  <a:cubicBezTo>
                    <a:pt x="1733" y="871"/>
                    <a:pt x="1733" y="871"/>
                    <a:pt x="1733" y="871"/>
                  </a:cubicBezTo>
                  <a:cubicBezTo>
                    <a:pt x="1733" y="859"/>
                    <a:pt x="1723" y="849"/>
                    <a:pt x="1711" y="849"/>
                  </a:cubicBezTo>
                  <a:cubicBezTo>
                    <a:pt x="1382" y="849"/>
                    <a:pt x="1382" y="849"/>
                    <a:pt x="1382" y="849"/>
                  </a:cubicBezTo>
                  <a:cubicBezTo>
                    <a:pt x="1370" y="849"/>
                    <a:pt x="1360" y="859"/>
                    <a:pt x="1360" y="871"/>
                  </a:cubicBezTo>
                  <a:cubicBezTo>
                    <a:pt x="1360" y="1200"/>
                    <a:pt x="1360" y="1200"/>
                    <a:pt x="1360" y="1200"/>
                  </a:cubicBezTo>
                  <a:cubicBezTo>
                    <a:pt x="1360" y="1212"/>
                    <a:pt x="1370" y="1222"/>
                    <a:pt x="1382" y="1222"/>
                  </a:cubicBezTo>
                  <a:cubicBezTo>
                    <a:pt x="1711" y="1222"/>
                    <a:pt x="1711" y="1222"/>
                    <a:pt x="1711" y="1222"/>
                  </a:cubicBezTo>
                  <a:cubicBezTo>
                    <a:pt x="1723" y="1222"/>
                    <a:pt x="1733" y="1212"/>
                    <a:pt x="1733" y="12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
              <a:extLst>
                <a:ext uri="{FF2B5EF4-FFF2-40B4-BE49-F238E27FC236}">
                  <a16:creationId xmlns:a16="http://schemas.microsoft.com/office/drawing/2014/main" id="{8A79B397-1A17-4C6E-907C-ACCE065809FA}"/>
                </a:ext>
              </a:extLst>
            </p:cNvPr>
            <p:cNvSpPr>
              <a:spLocks noEditPoints="1"/>
            </p:cNvSpPr>
            <p:nvPr/>
          </p:nvSpPr>
          <p:spPr bwMode="auto">
            <a:xfrm>
              <a:off x="2317" y="1448"/>
              <a:ext cx="3042" cy="1880"/>
            </a:xfrm>
            <a:custGeom>
              <a:avLst/>
              <a:gdLst>
                <a:gd name="T0" fmla="*/ 359 w 1624"/>
                <a:gd name="T1" fmla="*/ 1003 h 1003"/>
                <a:gd name="T2" fmla="*/ 315 w 1624"/>
                <a:gd name="T3" fmla="*/ 1003 h 1003"/>
                <a:gd name="T4" fmla="*/ 44 w 1624"/>
                <a:gd name="T5" fmla="*/ 889 h 1003"/>
                <a:gd name="T6" fmla="*/ 22 w 1624"/>
                <a:gd name="T7" fmla="*/ 1002 h 1003"/>
                <a:gd name="T8" fmla="*/ 0 w 1624"/>
                <a:gd name="T9" fmla="*/ 867 h 1003"/>
                <a:gd name="T10" fmla="*/ 157 w 1624"/>
                <a:gd name="T11" fmla="*/ 845 h 1003"/>
                <a:gd name="T12" fmla="*/ 201 w 1624"/>
                <a:gd name="T13" fmla="*/ 732 h 1003"/>
                <a:gd name="T14" fmla="*/ 337 w 1624"/>
                <a:gd name="T15" fmla="*/ 845 h 1003"/>
                <a:gd name="T16" fmla="*/ 969 w 1624"/>
                <a:gd name="T17" fmla="*/ 845 h 1003"/>
                <a:gd name="T18" fmla="*/ 834 w 1624"/>
                <a:gd name="T19" fmla="*/ 732 h 1003"/>
                <a:gd name="T20" fmla="*/ 790 w 1624"/>
                <a:gd name="T21" fmla="*/ 845 h 1003"/>
                <a:gd name="T22" fmla="*/ 633 w 1624"/>
                <a:gd name="T23" fmla="*/ 867 h 1003"/>
                <a:gd name="T24" fmla="*/ 655 w 1624"/>
                <a:gd name="T25" fmla="*/ 1002 h 1003"/>
                <a:gd name="T26" fmla="*/ 677 w 1624"/>
                <a:gd name="T27" fmla="*/ 889 h 1003"/>
                <a:gd name="T28" fmla="*/ 947 w 1624"/>
                <a:gd name="T29" fmla="*/ 1003 h 1003"/>
                <a:gd name="T30" fmla="*/ 991 w 1624"/>
                <a:gd name="T31" fmla="*/ 1003 h 1003"/>
                <a:gd name="T32" fmla="*/ 969 w 1624"/>
                <a:gd name="T33" fmla="*/ 845 h 1003"/>
                <a:gd name="T34" fmla="*/ 1467 w 1624"/>
                <a:gd name="T35" fmla="*/ 845 h 1003"/>
                <a:gd name="T36" fmla="*/ 1423 w 1624"/>
                <a:gd name="T37" fmla="*/ 732 h 1003"/>
                <a:gd name="T38" fmla="*/ 1287 w 1624"/>
                <a:gd name="T39" fmla="*/ 845 h 1003"/>
                <a:gd name="T40" fmla="*/ 1265 w 1624"/>
                <a:gd name="T41" fmla="*/ 1003 h 1003"/>
                <a:gd name="T42" fmla="*/ 1309 w 1624"/>
                <a:gd name="T43" fmla="*/ 1003 h 1003"/>
                <a:gd name="T44" fmla="*/ 1580 w 1624"/>
                <a:gd name="T45" fmla="*/ 889 h 1003"/>
                <a:gd name="T46" fmla="*/ 1602 w 1624"/>
                <a:gd name="T47" fmla="*/ 1002 h 1003"/>
                <a:gd name="T48" fmla="*/ 1624 w 1624"/>
                <a:gd name="T49" fmla="*/ 867 h 1003"/>
                <a:gd name="T50" fmla="*/ 1445 w 1624"/>
                <a:gd name="T51" fmla="*/ 114 h 1003"/>
                <a:gd name="T52" fmla="*/ 834 w 1624"/>
                <a:gd name="T53" fmla="*/ 0 h 1003"/>
                <a:gd name="T54" fmla="*/ 790 w 1624"/>
                <a:gd name="T55" fmla="*/ 0 h 1003"/>
                <a:gd name="T56" fmla="*/ 179 w 1624"/>
                <a:gd name="T57" fmla="*/ 114 h 1003"/>
                <a:gd name="T58" fmla="*/ 157 w 1624"/>
                <a:gd name="T59" fmla="*/ 271 h 1003"/>
                <a:gd name="T60" fmla="*/ 201 w 1624"/>
                <a:gd name="T61" fmla="*/ 158 h 1003"/>
                <a:gd name="T62" fmla="*/ 790 w 1624"/>
                <a:gd name="T63" fmla="*/ 271 h 1003"/>
                <a:gd name="T64" fmla="*/ 834 w 1624"/>
                <a:gd name="T65" fmla="*/ 158 h 1003"/>
                <a:gd name="T66" fmla="*/ 1423 w 1624"/>
                <a:gd name="T67" fmla="*/ 271 h 1003"/>
                <a:gd name="T68" fmla="*/ 1467 w 1624"/>
                <a:gd name="T69" fmla="*/ 13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4" h="1003">
                  <a:moveTo>
                    <a:pt x="359" y="867"/>
                  </a:moveTo>
                  <a:cubicBezTo>
                    <a:pt x="359" y="1003"/>
                    <a:pt x="359" y="1003"/>
                    <a:pt x="359" y="1003"/>
                  </a:cubicBezTo>
                  <a:cubicBezTo>
                    <a:pt x="352" y="1002"/>
                    <a:pt x="344" y="1002"/>
                    <a:pt x="337" y="1002"/>
                  </a:cubicBezTo>
                  <a:cubicBezTo>
                    <a:pt x="329" y="1002"/>
                    <a:pt x="322" y="1002"/>
                    <a:pt x="315" y="1003"/>
                  </a:cubicBezTo>
                  <a:cubicBezTo>
                    <a:pt x="315" y="889"/>
                    <a:pt x="315" y="889"/>
                    <a:pt x="315" y="889"/>
                  </a:cubicBezTo>
                  <a:cubicBezTo>
                    <a:pt x="44" y="889"/>
                    <a:pt x="44" y="889"/>
                    <a:pt x="44" y="889"/>
                  </a:cubicBezTo>
                  <a:cubicBezTo>
                    <a:pt x="44" y="1003"/>
                    <a:pt x="44" y="1003"/>
                    <a:pt x="44" y="1003"/>
                  </a:cubicBezTo>
                  <a:cubicBezTo>
                    <a:pt x="37" y="1002"/>
                    <a:pt x="30" y="1002"/>
                    <a:pt x="22" y="1002"/>
                  </a:cubicBezTo>
                  <a:cubicBezTo>
                    <a:pt x="15" y="1002"/>
                    <a:pt x="7" y="1002"/>
                    <a:pt x="0" y="1003"/>
                  </a:cubicBezTo>
                  <a:cubicBezTo>
                    <a:pt x="0" y="867"/>
                    <a:pt x="0" y="867"/>
                    <a:pt x="0" y="867"/>
                  </a:cubicBezTo>
                  <a:cubicBezTo>
                    <a:pt x="0" y="855"/>
                    <a:pt x="10" y="845"/>
                    <a:pt x="22" y="845"/>
                  </a:cubicBezTo>
                  <a:cubicBezTo>
                    <a:pt x="157" y="845"/>
                    <a:pt x="157" y="845"/>
                    <a:pt x="157" y="845"/>
                  </a:cubicBezTo>
                  <a:cubicBezTo>
                    <a:pt x="157" y="732"/>
                    <a:pt x="157" y="732"/>
                    <a:pt x="157" y="732"/>
                  </a:cubicBezTo>
                  <a:cubicBezTo>
                    <a:pt x="201" y="732"/>
                    <a:pt x="201" y="732"/>
                    <a:pt x="201" y="732"/>
                  </a:cubicBezTo>
                  <a:cubicBezTo>
                    <a:pt x="201" y="845"/>
                    <a:pt x="201" y="845"/>
                    <a:pt x="201" y="845"/>
                  </a:cubicBezTo>
                  <a:cubicBezTo>
                    <a:pt x="337" y="845"/>
                    <a:pt x="337" y="845"/>
                    <a:pt x="337" y="845"/>
                  </a:cubicBezTo>
                  <a:cubicBezTo>
                    <a:pt x="349" y="845"/>
                    <a:pt x="359" y="855"/>
                    <a:pt x="359" y="867"/>
                  </a:cubicBezTo>
                  <a:close/>
                  <a:moveTo>
                    <a:pt x="969" y="845"/>
                  </a:moveTo>
                  <a:cubicBezTo>
                    <a:pt x="834" y="845"/>
                    <a:pt x="834" y="845"/>
                    <a:pt x="834" y="845"/>
                  </a:cubicBezTo>
                  <a:cubicBezTo>
                    <a:pt x="834" y="732"/>
                    <a:pt x="834" y="732"/>
                    <a:pt x="834" y="732"/>
                  </a:cubicBezTo>
                  <a:cubicBezTo>
                    <a:pt x="790" y="732"/>
                    <a:pt x="790" y="732"/>
                    <a:pt x="790" y="732"/>
                  </a:cubicBezTo>
                  <a:cubicBezTo>
                    <a:pt x="790" y="845"/>
                    <a:pt x="790" y="845"/>
                    <a:pt x="790" y="845"/>
                  </a:cubicBezTo>
                  <a:cubicBezTo>
                    <a:pt x="655" y="845"/>
                    <a:pt x="655" y="845"/>
                    <a:pt x="655" y="845"/>
                  </a:cubicBezTo>
                  <a:cubicBezTo>
                    <a:pt x="643" y="845"/>
                    <a:pt x="633" y="855"/>
                    <a:pt x="633" y="867"/>
                  </a:cubicBezTo>
                  <a:cubicBezTo>
                    <a:pt x="633" y="1003"/>
                    <a:pt x="633" y="1003"/>
                    <a:pt x="633" y="1003"/>
                  </a:cubicBezTo>
                  <a:cubicBezTo>
                    <a:pt x="640" y="1002"/>
                    <a:pt x="647" y="1002"/>
                    <a:pt x="655" y="1002"/>
                  </a:cubicBezTo>
                  <a:cubicBezTo>
                    <a:pt x="662" y="1002"/>
                    <a:pt x="669" y="1002"/>
                    <a:pt x="677" y="1003"/>
                  </a:cubicBezTo>
                  <a:cubicBezTo>
                    <a:pt x="677" y="889"/>
                    <a:pt x="677" y="889"/>
                    <a:pt x="677" y="889"/>
                  </a:cubicBezTo>
                  <a:cubicBezTo>
                    <a:pt x="947" y="889"/>
                    <a:pt x="947" y="889"/>
                    <a:pt x="947" y="889"/>
                  </a:cubicBezTo>
                  <a:cubicBezTo>
                    <a:pt x="947" y="1003"/>
                    <a:pt x="947" y="1003"/>
                    <a:pt x="947" y="1003"/>
                  </a:cubicBezTo>
                  <a:cubicBezTo>
                    <a:pt x="955" y="1002"/>
                    <a:pt x="962" y="1002"/>
                    <a:pt x="969" y="1002"/>
                  </a:cubicBezTo>
                  <a:cubicBezTo>
                    <a:pt x="977" y="1002"/>
                    <a:pt x="984" y="1002"/>
                    <a:pt x="991" y="1003"/>
                  </a:cubicBezTo>
                  <a:cubicBezTo>
                    <a:pt x="991" y="867"/>
                    <a:pt x="991" y="867"/>
                    <a:pt x="991" y="867"/>
                  </a:cubicBezTo>
                  <a:cubicBezTo>
                    <a:pt x="991" y="855"/>
                    <a:pt x="981" y="845"/>
                    <a:pt x="969" y="845"/>
                  </a:cubicBezTo>
                  <a:close/>
                  <a:moveTo>
                    <a:pt x="1602" y="845"/>
                  </a:moveTo>
                  <a:cubicBezTo>
                    <a:pt x="1467" y="845"/>
                    <a:pt x="1467" y="845"/>
                    <a:pt x="1467" y="845"/>
                  </a:cubicBezTo>
                  <a:cubicBezTo>
                    <a:pt x="1467" y="732"/>
                    <a:pt x="1467" y="732"/>
                    <a:pt x="1467" y="732"/>
                  </a:cubicBezTo>
                  <a:cubicBezTo>
                    <a:pt x="1423" y="732"/>
                    <a:pt x="1423" y="732"/>
                    <a:pt x="1423" y="732"/>
                  </a:cubicBezTo>
                  <a:cubicBezTo>
                    <a:pt x="1423" y="845"/>
                    <a:pt x="1423" y="845"/>
                    <a:pt x="1423" y="845"/>
                  </a:cubicBezTo>
                  <a:cubicBezTo>
                    <a:pt x="1287" y="845"/>
                    <a:pt x="1287" y="845"/>
                    <a:pt x="1287" y="845"/>
                  </a:cubicBezTo>
                  <a:cubicBezTo>
                    <a:pt x="1275" y="845"/>
                    <a:pt x="1265" y="855"/>
                    <a:pt x="1265" y="867"/>
                  </a:cubicBezTo>
                  <a:cubicBezTo>
                    <a:pt x="1265" y="1003"/>
                    <a:pt x="1265" y="1003"/>
                    <a:pt x="1265" y="1003"/>
                  </a:cubicBezTo>
                  <a:cubicBezTo>
                    <a:pt x="1272" y="1002"/>
                    <a:pt x="1280" y="1002"/>
                    <a:pt x="1287" y="1002"/>
                  </a:cubicBezTo>
                  <a:cubicBezTo>
                    <a:pt x="1295" y="1002"/>
                    <a:pt x="1302" y="1002"/>
                    <a:pt x="1309" y="1003"/>
                  </a:cubicBezTo>
                  <a:cubicBezTo>
                    <a:pt x="1309" y="889"/>
                    <a:pt x="1309" y="889"/>
                    <a:pt x="1309" y="889"/>
                  </a:cubicBezTo>
                  <a:cubicBezTo>
                    <a:pt x="1580" y="889"/>
                    <a:pt x="1580" y="889"/>
                    <a:pt x="1580" y="889"/>
                  </a:cubicBezTo>
                  <a:cubicBezTo>
                    <a:pt x="1580" y="1003"/>
                    <a:pt x="1580" y="1003"/>
                    <a:pt x="1580" y="1003"/>
                  </a:cubicBezTo>
                  <a:cubicBezTo>
                    <a:pt x="1587" y="1002"/>
                    <a:pt x="1594" y="1002"/>
                    <a:pt x="1602" y="1002"/>
                  </a:cubicBezTo>
                  <a:cubicBezTo>
                    <a:pt x="1609" y="1002"/>
                    <a:pt x="1617" y="1002"/>
                    <a:pt x="1624" y="1003"/>
                  </a:cubicBezTo>
                  <a:cubicBezTo>
                    <a:pt x="1624" y="867"/>
                    <a:pt x="1624" y="867"/>
                    <a:pt x="1624" y="867"/>
                  </a:cubicBezTo>
                  <a:cubicBezTo>
                    <a:pt x="1624" y="855"/>
                    <a:pt x="1614" y="845"/>
                    <a:pt x="1602" y="845"/>
                  </a:cubicBezTo>
                  <a:close/>
                  <a:moveTo>
                    <a:pt x="1445" y="114"/>
                  </a:moveTo>
                  <a:cubicBezTo>
                    <a:pt x="834" y="114"/>
                    <a:pt x="834" y="114"/>
                    <a:pt x="834" y="114"/>
                  </a:cubicBezTo>
                  <a:cubicBezTo>
                    <a:pt x="834" y="0"/>
                    <a:pt x="834" y="0"/>
                    <a:pt x="834" y="0"/>
                  </a:cubicBezTo>
                  <a:cubicBezTo>
                    <a:pt x="827" y="1"/>
                    <a:pt x="819" y="1"/>
                    <a:pt x="812" y="1"/>
                  </a:cubicBezTo>
                  <a:cubicBezTo>
                    <a:pt x="805" y="1"/>
                    <a:pt x="797" y="1"/>
                    <a:pt x="790" y="0"/>
                  </a:cubicBezTo>
                  <a:cubicBezTo>
                    <a:pt x="790" y="114"/>
                    <a:pt x="790" y="114"/>
                    <a:pt x="790" y="114"/>
                  </a:cubicBezTo>
                  <a:cubicBezTo>
                    <a:pt x="179" y="114"/>
                    <a:pt x="179" y="114"/>
                    <a:pt x="179" y="114"/>
                  </a:cubicBezTo>
                  <a:cubicBezTo>
                    <a:pt x="167" y="114"/>
                    <a:pt x="157" y="124"/>
                    <a:pt x="157" y="136"/>
                  </a:cubicBezTo>
                  <a:cubicBezTo>
                    <a:pt x="157" y="271"/>
                    <a:pt x="157" y="271"/>
                    <a:pt x="157" y="271"/>
                  </a:cubicBezTo>
                  <a:cubicBezTo>
                    <a:pt x="201" y="271"/>
                    <a:pt x="201" y="271"/>
                    <a:pt x="201" y="271"/>
                  </a:cubicBezTo>
                  <a:cubicBezTo>
                    <a:pt x="201" y="158"/>
                    <a:pt x="201" y="158"/>
                    <a:pt x="201" y="158"/>
                  </a:cubicBezTo>
                  <a:cubicBezTo>
                    <a:pt x="790" y="158"/>
                    <a:pt x="790" y="158"/>
                    <a:pt x="790" y="158"/>
                  </a:cubicBezTo>
                  <a:cubicBezTo>
                    <a:pt x="790" y="271"/>
                    <a:pt x="790" y="271"/>
                    <a:pt x="790" y="271"/>
                  </a:cubicBezTo>
                  <a:cubicBezTo>
                    <a:pt x="834" y="271"/>
                    <a:pt x="834" y="271"/>
                    <a:pt x="834" y="271"/>
                  </a:cubicBezTo>
                  <a:cubicBezTo>
                    <a:pt x="834" y="158"/>
                    <a:pt x="834" y="158"/>
                    <a:pt x="834" y="158"/>
                  </a:cubicBezTo>
                  <a:cubicBezTo>
                    <a:pt x="1423" y="158"/>
                    <a:pt x="1423" y="158"/>
                    <a:pt x="1423" y="158"/>
                  </a:cubicBezTo>
                  <a:cubicBezTo>
                    <a:pt x="1423" y="271"/>
                    <a:pt x="1423" y="271"/>
                    <a:pt x="1423" y="271"/>
                  </a:cubicBezTo>
                  <a:cubicBezTo>
                    <a:pt x="1467" y="271"/>
                    <a:pt x="1467" y="271"/>
                    <a:pt x="1467" y="271"/>
                  </a:cubicBezTo>
                  <a:cubicBezTo>
                    <a:pt x="1467" y="136"/>
                    <a:pt x="1467" y="136"/>
                    <a:pt x="1467" y="136"/>
                  </a:cubicBezTo>
                  <a:cubicBezTo>
                    <a:pt x="1467" y="124"/>
                    <a:pt x="1457" y="114"/>
                    <a:pt x="1445" y="1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bcgIcons_Prioritization">
            <a:extLst>
              <a:ext uri="{FF2B5EF4-FFF2-40B4-BE49-F238E27FC236}">
                <a16:creationId xmlns:a16="http://schemas.microsoft.com/office/drawing/2014/main" id="{BF011AED-68A5-4A2B-8DFD-6F3B4FD0B407}"/>
              </a:ext>
            </a:extLst>
          </p:cNvPr>
          <p:cNvGrpSpPr>
            <a:grpSpLocks noChangeAspect="1"/>
          </p:cNvGrpSpPr>
          <p:nvPr/>
        </p:nvGrpSpPr>
        <p:grpSpPr bwMode="auto">
          <a:xfrm>
            <a:off x="909820" y="3736127"/>
            <a:ext cx="982931" cy="983842"/>
            <a:chOff x="1682" y="0"/>
            <a:chExt cx="4316" cy="4320"/>
          </a:xfrm>
        </p:grpSpPr>
        <p:sp>
          <p:nvSpPr>
            <p:cNvPr id="28" name="AutoShape 3">
              <a:extLst>
                <a:ext uri="{FF2B5EF4-FFF2-40B4-BE49-F238E27FC236}">
                  <a16:creationId xmlns:a16="http://schemas.microsoft.com/office/drawing/2014/main" id="{7C250962-4B3E-4400-B63D-D658BDA8A03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5">
              <a:extLst>
                <a:ext uri="{FF2B5EF4-FFF2-40B4-BE49-F238E27FC236}">
                  <a16:creationId xmlns:a16="http://schemas.microsoft.com/office/drawing/2014/main" id="{4545A6CD-66FA-484B-A4EC-D3564F22AD76}"/>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6">
              <a:extLst>
                <a:ext uri="{FF2B5EF4-FFF2-40B4-BE49-F238E27FC236}">
                  <a16:creationId xmlns:a16="http://schemas.microsoft.com/office/drawing/2014/main" id="{3574E844-339E-46CE-81C2-E786D3C75277}"/>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 name="Group 30"/>
          <p:cNvGrpSpPr>
            <a:grpSpLocks noChangeAspect="1"/>
          </p:cNvGrpSpPr>
          <p:nvPr/>
        </p:nvGrpSpPr>
        <p:grpSpPr>
          <a:xfrm>
            <a:off x="6156748" y="1685451"/>
            <a:ext cx="982931" cy="983842"/>
            <a:chOff x="5273801" y="2606040"/>
            <a:chExt cx="1644396" cy="1645920"/>
          </a:xfrm>
        </p:grpSpPr>
        <p:sp>
          <p:nvSpPr>
            <p:cNvPr id="32"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3" name="Group 32"/>
            <p:cNvGrpSpPr/>
            <p:nvPr/>
          </p:nvGrpSpPr>
          <p:grpSpPr>
            <a:xfrm>
              <a:off x="5343905" y="2928366"/>
              <a:ext cx="1505712" cy="995553"/>
              <a:chOff x="5343905" y="2928366"/>
              <a:chExt cx="1505712" cy="995553"/>
            </a:xfrm>
          </p:grpSpPr>
          <p:sp>
            <p:nvSpPr>
              <p:cNvPr id="34"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6" name="Group 4">
            <a:extLst>
              <a:ext uri="{FF2B5EF4-FFF2-40B4-BE49-F238E27FC236}">
                <a16:creationId xmlns:a16="http://schemas.microsoft.com/office/drawing/2014/main" id="{D6C12AAB-D105-4EC5-9A47-2134E872B7FF}"/>
              </a:ext>
            </a:extLst>
          </p:cNvPr>
          <p:cNvGrpSpPr>
            <a:grpSpLocks noChangeAspect="1"/>
          </p:cNvGrpSpPr>
          <p:nvPr/>
        </p:nvGrpSpPr>
        <p:grpSpPr bwMode="auto">
          <a:xfrm>
            <a:off x="6156748" y="3736127"/>
            <a:ext cx="982931" cy="983842"/>
            <a:chOff x="1682" y="0"/>
            <a:chExt cx="4316" cy="4320"/>
          </a:xfrm>
        </p:grpSpPr>
        <p:sp>
          <p:nvSpPr>
            <p:cNvPr id="37" name="AutoShape 3">
              <a:extLst>
                <a:ext uri="{FF2B5EF4-FFF2-40B4-BE49-F238E27FC236}">
                  <a16:creationId xmlns:a16="http://schemas.microsoft.com/office/drawing/2014/main" id="{51AB70BB-B397-4914-B4EC-EC98744768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5">
              <a:extLst>
                <a:ext uri="{FF2B5EF4-FFF2-40B4-BE49-F238E27FC236}">
                  <a16:creationId xmlns:a16="http://schemas.microsoft.com/office/drawing/2014/main" id="{F41393EF-553B-41C2-9334-38C321D5FBE5}"/>
                </a:ext>
              </a:extLst>
            </p:cNvPr>
            <p:cNvSpPr>
              <a:spLocks/>
            </p:cNvSpPr>
            <p:nvPr/>
          </p:nvSpPr>
          <p:spPr bwMode="auto">
            <a:xfrm>
              <a:off x="2029" y="1108"/>
              <a:ext cx="2609" cy="1329"/>
            </a:xfrm>
            <a:custGeom>
              <a:avLst/>
              <a:gdLst>
                <a:gd name="T0" fmla="*/ 1152 w 1393"/>
                <a:gd name="T1" fmla="*/ 709 h 709"/>
                <a:gd name="T2" fmla="*/ 10 w 1393"/>
                <a:gd name="T3" fmla="*/ 709 h 709"/>
                <a:gd name="T4" fmla="*/ 0 w 1393"/>
                <a:gd name="T5" fmla="*/ 699 h 709"/>
                <a:gd name="T6" fmla="*/ 0 w 1393"/>
                <a:gd name="T7" fmla="*/ 10 h 709"/>
                <a:gd name="T8" fmla="*/ 10 w 1393"/>
                <a:gd name="T9" fmla="*/ 0 h 709"/>
                <a:gd name="T10" fmla="*/ 1383 w 1393"/>
                <a:gd name="T11" fmla="*/ 0 h 709"/>
                <a:gd name="T12" fmla="*/ 1393 w 1393"/>
                <a:gd name="T13" fmla="*/ 10 h 709"/>
                <a:gd name="T14" fmla="*/ 1393 w 1393"/>
                <a:gd name="T15" fmla="*/ 17 h 709"/>
                <a:gd name="T16" fmla="*/ 1174 w 1393"/>
                <a:gd name="T17" fmla="*/ 124 h 709"/>
                <a:gd name="T18" fmla="*/ 1068 w 1393"/>
                <a:gd name="T19" fmla="*/ 388 h 709"/>
                <a:gd name="T20" fmla="*/ 1082 w 1393"/>
                <a:gd name="T21" fmla="*/ 517 h 709"/>
                <a:gd name="T22" fmla="*/ 1078 w 1393"/>
                <a:gd name="T23" fmla="*/ 535 h 709"/>
                <a:gd name="T24" fmla="*/ 1133 w 1393"/>
                <a:gd name="T25" fmla="*/ 665 h 709"/>
                <a:gd name="T26" fmla="*/ 1152 w 1393"/>
                <a:gd name="T27"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3" h="709">
                  <a:moveTo>
                    <a:pt x="1152" y="709"/>
                  </a:moveTo>
                  <a:cubicBezTo>
                    <a:pt x="10" y="709"/>
                    <a:pt x="10" y="709"/>
                    <a:pt x="10" y="709"/>
                  </a:cubicBezTo>
                  <a:cubicBezTo>
                    <a:pt x="4" y="709"/>
                    <a:pt x="0" y="705"/>
                    <a:pt x="0" y="699"/>
                  </a:cubicBezTo>
                  <a:cubicBezTo>
                    <a:pt x="0" y="10"/>
                    <a:pt x="0" y="10"/>
                    <a:pt x="0" y="10"/>
                  </a:cubicBezTo>
                  <a:cubicBezTo>
                    <a:pt x="0" y="5"/>
                    <a:pt x="4" y="0"/>
                    <a:pt x="10" y="0"/>
                  </a:cubicBezTo>
                  <a:cubicBezTo>
                    <a:pt x="1383" y="0"/>
                    <a:pt x="1383" y="0"/>
                    <a:pt x="1383" y="0"/>
                  </a:cubicBezTo>
                  <a:cubicBezTo>
                    <a:pt x="1388" y="0"/>
                    <a:pt x="1393" y="5"/>
                    <a:pt x="1393" y="10"/>
                  </a:cubicBezTo>
                  <a:cubicBezTo>
                    <a:pt x="1393" y="17"/>
                    <a:pt x="1393" y="17"/>
                    <a:pt x="1393" y="17"/>
                  </a:cubicBezTo>
                  <a:cubicBezTo>
                    <a:pt x="1309" y="26"/>
                    <a:pt x="1233" y="64"/>
                    <a:pt x="1174" y="124"/>
                  </a:cubicBezTo>
                  <a:cubicBezTo>
                    <a:pt x="1106" y="194"/>
                    <a:pt x="1068" y="288"/>
                    <a:pt x="1068" y="388"/>
                  </a:cubicBezTo>
                  <a:cubicBezTo>
                    <a:pt x="1068" y="410"/>
                    <a:pt x="1070" y="473"/>
                    <a:pt x="1082" y="517"/>
                  </a:cubicBezTo>
                  <a:cubicBezTo>
                    <a:pt x="1080" y="523"/>
                    <a:pt x="1079" y="529"/>
                    <a:pt x="1078" y="535"/>
                  </a:cubicBezTo>
                  <a:cubicBezTo>
                    <a:pt x="1077" y="569"/>
                    <a:pt x="1089" y="630"/>
                    <a:pt x="1133" y="665"/>
                  </a:cubicBezTo>
                  <a:cubicBezTo>
                    <a:pt x="1140" y="681"/>
                    <a:pt x="1146" y="696"/>
                    <a:pt x="1152" y="70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6">
              <a:extLst>
                <a:ext uri="{FF2B5EF4-FFF2-40B4-BE49-F238E27FC236}">
                  <a16:creationId xmlns:a16="http://schemas.microsoft.com/office/drawing/2014/main" id="{6039178D-60C5-4E3B-8574-B8EB1C178708}"/>
                </a:ext>
              </a:extLst>
            </p:cNvPr>
            <p:cNvSpPr>
              <a:spLocks noEditPoints="1"/>
            </p:cNvSpPr>
            <p:nvPr/>
          </p:nvSpPr>
          <p:spPr bwMode="auto">
            <a:xfrm>
              <a:off x="1866" y="936"/>
              <a:ext cx="3922" cy="2478"/>
            </a:xfrm>
            <a:custGeom>
              <a:avLst/>
              <a:gdLst>
                <a:gd name="T0" fmla="*/ 1708 w 2094"/>
                <a:gd name="T1" fmla="*/ 1061 h 1322"/>
                <a:gd name="T2" fmla="*/ 2091 w 2094"/>
                <a:gd name="T3" fmla="*/ 1304 h 1322"/>
                <a:gd name="T4" fmla="*/ 969 w 2094"/>
                <a:gd name="T5" fmla="*/ 1322 h 1322"/>
                <a:gd name="T6" fmla="*/ 1094 w 2094"/>
                <a:gd name="T7" fmla="*/ 1103 h 1322"/>
                <a:gd name="T8" fmla="*/ 1339 w 2094"/>
                <a:gd name="T9" fmla="*/ 1061 h 1322"/>
                <a:gd name="T10" fmla="*/ 1527 w 2094"/>
                <a:gd name="T11" fmla="*/ 1209 h 1322"/>
                <a:gd name="T12" fmla="*/ 1784 w 2094"/>
                <a:gd name="T13" fmla="*/ 687 h 1322"/>
                <a:gd name="T14" fmla="*/ 1766 w 2094"/>
                <a:gd name="T15" fmla="*/ 685 h 1322"/>
                <a:gd name="T16" fmla="*/ 1746 w 2094"/>
                <a:gd name="T17" fmla="*/ 704 h 1322"/>
                <a:gd name="T18" fmla="*/ 1520 w 2094"/>
                <a:gd name="T19" fmla="*/ 961 h 1322"/>
                <a:gd name="T20" fmla="*/ 1294 w 2094"/>
                <a:gd name="T21" fmla="*/ 704 h 1322"/>
                <a:gd name="T22" fmla="*/ 1256 w 2094"/>
                <a:gd name="T23" fmla="*/ 654 h 1322"/>
                <a:gd name="T24" fmla="*/ 1212 w 2094"/>
                <a:gd name="T25" fmla="*/ 656 h 1322"/>
                <a:gd name="T26" fmla="*/ 1353 w 2094"/>
                <a:gd name="T27" fmla="*/ 924 h 1322"/>
                <a:gd name="T28" fmla="*/ 1368 w 2094"/>
                <a:gd name="T29" fmla="*/ 1023 h 1322"/>
                <a:gd name="T30" fmla="*/ 1409 w 2094"/>
                <a:gd name="T31" fmla="*/ 1057 h 1322"/>
                <a:gd name="T32" fmla="*/ 1412 w 2094"/>
                <a:gd name="T33" fmla="*/ 966 h 1322"/>
                <a:gd name="T34" fmla="*/ 1639 w 2094"/>
                <a:gd name="T35" fmla="*/ 958 h 1322"/>
                <a:gd name="T36" fmla="*/ 1678 w 2094"/>
                <a:gd name="T37" fmla="*/ 1024 h 1322"/>
                <a:gd name="T38" fmla="*/ 1683 w 2094"/>
                <a:gd name="T39" fmla="*/ 927 h 1322"/>
                <a:gd name="T40" fmla="*/ 1784 w 2094"/>
                <a:gd name="T41" fmla="*/ 727 h 1322"/>
                <a:gd name="T42" fmla="*/ 1784 w 2094"/>
                <a:gd name="T43" fmla="*/ 687 h 1322"/>
                <a:gd name="T44" fmla="*/ 1524 w 2094"/>
                <a:gd name="T45" fmla="*/ 157 h 1322"/>
                <a:gd name="T46" fmla="*/ 1224 w 2094"/>
                <a:gd name="T47" fmla="*/ 612 h 1322"/>
                <a:gd name="T48" fmla="*/ 1380 w 2094"/>
                <a:gd name="T49" fmla="*/ 410 h 1322"/>
                <a:gd name="T50" fmla="*/ 1864 w 2094"/>
                <a:gd name="T51" fmla="*/ 610 h 1322"/>
                <a:gd name="T52" fmla="*/ 1842 w 2094"/>
                <a:gd name="T53" fmla="*/ 480 h 1322"/>
                <a:gd name="T54" fmla="*/ 891 w 2094"/>
                <a:gd name="T55" fmla="*/ 922 h 1322"/>
                <a:gd name="T56" fmla="*/ 1281 w 2094"/>
                <a:gd name="T57" fmla="*/ 893 h 1322"/>
                <a:gd name="T58" fmla="*/ 869 w 2094"/>
                <a:gd name="T59" fmla="*/ 849 h 1322"/>
                <a:gd name="T60" fmla="*/ 847 w 2094"/>
                <a:gd name="T61" fmla="*/ 936 h 1322"/>
                <a:gd name="T62" fmla="*/ 904 w 2094"/>
                <a:gd name="T63" fmla="*/ 980 h 1322"/>
                <a:gd name="T64" fmla="*/ 708 w 2094"/>
                <a:gd name="T65" fmla="*/ 955 h 1322"/>
                <a:gd name="T66" fmla="*/ 720 w 2094"/>
                <a:gd name="T67" fmla="*/ 871 h 1322"/>
                <a:gd name="T68" fmla="*/ 44 w 2094"/>
                <a:gd name="T69" fmla="*/ 849 h 1322"/>
                <a:gd name="T70" fmla="*/ 1523 w 2094"/>
                <a:gd name="T71" fmla="*/ 44 h 1322"/>
                <a:gd name="T72" fmla="*/ 1524 w 2094"/>
                <a:gd name="T73" fmla="*/ 106 h 1322"/>
                <a:gd name="T74" fmla="*/ 1567 w 2094"/>
                <a:gd name="T75" fmla="*/ 22 h 1322"/>
                <a:gd name="T76" fmla="*/ 22 w 2094"/>
                <a:gd name="T77" fmla="*/ 0 h 1322"/>
                <a:gd name="T78" fmla="*/ 0 w 2094"/>
                <a:gd name="T79" fmla="*/ 871 h 1322"/>
                <a:gd name="T80" fmla="*/ 676 w 2094"/>
                <a:gd name="T81" fmla="*/ 893 h 1322"/>
                <a:gd name="T82" fmla="*/ 566 w 2094"/>
                <a:gd name="T83" fmla="*/ 982 h 1322"/>
                <a:gd name="T84" fmla="*/ 577 w 2094"/>
                <a:gd name="T85" fmla="*/ 1024 h 1322"/>
                <a:gd name="T86" fmla="*/ 1011 w 2094"/>
                <a:gd name="T87" fmla="*/ 1007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94" h="1322">
                  <a:moveTo>
                    <a:pt x="1708" y="1061"/>
                  </a:moveTo>
                  <a:cubicBezTo>
                    <a:pt x="1708" y="1061"/>
                    <a:pt x="1708" y="1061"/>
                    <a:pt x="1708" y="1061"/>
                  </a:cubicBezTo>
                  <a:cubicBezTo>
                    <a:pt x="1708" y="1061"/>
                    <a:pt x="1867" y="1063"/>
                    <a:pt x="1953" y="1103"/>
                  </a:cubicBezTo>
                  <a:cubicBezTo>
                    <a:pt x="2023" y="1135"/>
                    <a:pt x="2074" y="1256"/>
                    <a:pt x="2091" y="1304"/>
                  </a:cubicBezTo>
                  <a:cubicBezTo>
                    <a:pt x="2094" y="1313"/>
                    <a:pt x="2088" y="1322"/>
                    <a:pt x="2078" y="1322"/>
                  </a:cubicBezTo>
                  <a:cubicBezTo>
                    <a:pt x="969" y="1322"/>
                    <a:pt x="969" y="1322"/>
                    <a:pt x="969" y="1322"/>
                  </a:cubicBezTo>
                  <a:cubicBezTo>
                    <a:pt x="959" y="1322"/>
                    <a:pt x="953" y="1313"/>
                    <a:pt x="956" y="1304"/>
                  </a:cubicBezTo>
                  <a:cubicBezTo>
                    <a:pt x="973" y="1256"/>
                    <a:pt x="1024" y="1135"/>
                    <a:pt x="1094" y="1103"/>
                  </a:cubicBezTo>
                  <a:cubicBezTo>
                    <a:pt x="1180" y="1063"/>
                    <a:pt x="1339" y="1061"/>
                    <a:pt x="1339" y="1061"/>
                  </a:cubicBezTo>
                  <a:cubicBezTo>
                    <a:pt x="1339" y="1061"/>
                    <a:pt x="1339" y="1061"/>
                    <a:pt x="1339" y="1061"/>
                  </a:cubicBezTo>
                  <a:cubicBezTo>
                    <a:pt x="1339" y="1061"/>
                    <a:pt x="1461" y="1163"/>
                    <a:pt x="1520" y="1209"/>
                  </a:cubicBezTo>
                  <a:cubicBezTo>
                    <a:pt x="1522" y="1211"/>
                    <a:pt x="1525" y="1211"/>
                    <a:pt x="1527" y="1209"/>
                  </a:cubicBezTo>
                  <a:cubicBezTo>
                    <a:pt x="1606" y="1146"/>
                    <a:pt x="1708" y="1061"/>
                    <a:pt x="1708" y="1061"/>
                  </a:cubicBezTo>
                  <a:close/>
                  <a:moveTo>
                    <a:pt x="1784" y="687"/>
                  </a:moveTo>
                  <a:cubicBezTo>
                    <a:pt x="1784" y="687"/>
                    <a:pt x="1784" y="687"/>
                    <a:pt x="1784" y="687"/>
                  </a:cubicBezTo>
                  <a:cubicBezTo>
                    <a:pt x="1778" y="687"/>
                    <a:pt x="1772" y="686"/>
                    <a:pt x="1766" y="685"/>
                  </a:cubicBezTo>
                  <a:cubicBezTo>
                    <a:pt x="1763" y="688"/>
                    <a:pt x="1760" y="690"/>
                    <a:pt x="1756" y="692"/>
                  </a:cubicBezTo>
                  <a:cubicBezTo>
                    <a:pt x="1752" y="694"/>
                    <a:pt x="1748" y="699"/>
                    <a:pt x="1746" y="704"/>
                  </a:cubicBezTo>
                  <a:cubicBezTo>
                    <a:pt x="1714" y="784"/>
                    <a:pt x="1672" y="878"/>
                    <a:pt x="1657" y="891"/>
                  </a:cubicBezTo>
                  <a:cubicBezTo>
                    <a:pt x="1631" y="915"/>
                    <a:pt x="1558" y="961"/>
                    <a:pt x="1520" y="961"/>
                  </a:cubicBezTo>
                  <a:cubicBezTo>
                    <a:pt x="1482" y="961"/>
                    <a:pt x="1409" y="915"/>
                    <a:pt x="1383" y="891"/>
                  </a:cubicBezTo>
                  <a:cubicBezTo>
                    <a:pt x="1368" y="878"/>
                    <a:pt x="1325" y="784"/>
                    <a:pt x="1294" y="704"/>
                  </a:cubicBezTo>
                  <a:cubicBezTo>
                    <a:pt x="1292" y="698"/>
                    <a:pt x="1287" y="693"/>
                    <a:pt x="1281" y="691"/>
                  </a:cubicBezTo>
                  <a:cubicBezTo>
                    <a:pt x="1268" y="686"/>
                    <a:pt x="1260" y="669"/>
                    <a:pt x="1256" y="654"/>
                  </a:cubicBezTo>
                  <a:cubicBezTo>
                    <a:pt x="1249" y="657"/>
                    <a:pt x="1241" y="660"/>
                    <a:pt x="1231" y="660"/>
                  </a:cubicBezTo>
                  <a:cubicBezTo>
                    <a:pt x="1226" y="660"/>
                    <a:pt x="1219" y="659"/>
                    <a:pt x="1212" y="656"/>
                  </a:cubicBezTo>
                  <a:cubicBezTo>
                    <a:pt x="1216" y="681"/>
                    <a:pt x="1229" y="713"/>
                    <a:pt x="1256" y="728"/>
                  </a:cubicBezTo>
                  <a:cubicBezTo>
                    <a:pt x="1276" y="777"/>
                    <a:pt x="1326" y="900"/>
                    <a:pt x="1353" y="924"/>
                  </a:cubicBezTo>
                  <a:cubicBezTo>
                    <a:pt x="1357" y="927"/>
                    <a:pt x="1362" y="932"/>
                    <a:pt x="1368" y="936"/>
                  </a:cubicBezTo>
                  <a:cubicBezTo>
                    <a:pt x="1368" y="1023"/>
                    <a:pt x="1368" y="1023"/>
                    <a:pt x="1368" y="1023"/>
                  </a:cubicBezTo>
                  <a:cubicBezTo>
                    <a:pt x="1369" y="1024"/>
                    <a:pt x="1369" y="1024"/>
                    <a:pt x="1369" y="1024"/>
                  </a:cubicBezTo>
                  <a:cubicBezTo>
                    <a:pt x="1370" y="1025"/>
                    <a:pt x="1386" y="1038"/>
                    <a:pt x="1409" y="1057"/>
                  </a:cubicBezTo>
                  <a:cubicBezTo>
                    <a:pt x="1412" y="1057"/>
                    <a:pt x="1412" y="1057"/>
                    <a:pt x="1412" y="1057"/>
                  </a:cubicBezTo>
                  <a:cubicBezTo>
                    <a:pt x="1412" y="966"/>
                    <a:pt x="1412" y="966"/>
                    <a:pt x="1412" y="966"/>
                  </a:cubicBezTo>
                  <a:cubicBezTo>
                    <a:pt x="1446" y="986"/>
                    <a:pt x="1487" y="1005"/>
                    <a:pt x="1520" y="1005"/>
                  </a:cubicBezTo>
                  <a:cubicBezTo>
                    <a:pt x="1556" y="1005"/>
                    <a:pt x="1603" y="981"/>
                    <a:pt x="1639" y="958"/>
                  </a:cubicBezTo>
                  <a:cubicBezTo>
                    <a:pt x="1639" y="1056"/>
                    <a:pt x="1639" y="1056"/>
                    <a:pt x="1639" y="1056"/>
                  </a:cubicBezTo>
                  <a:cubicBezTo>
                    <a:pt x="1662" y="1037"/>
                    <a:pt x="1677" y="1025"/>
                    <a:pt x="1678" y="1024"/>
                  </a:cubicBezTo>
                  <a:cubicBezTo>
                    <a:pt x="1683" y="1020"/>
                    <a:pt x="1683" y="1020"/>
                    <a:pt x="1683" y="1020"/>
                  </a:cubicBezTo>
                  <a:cubicBezTo>
                    <a:pt x="1683" y="927"/>
                    <a:pt x="1683" y="927"/>
                    <a:pt x="1683" y="927"/>
                  </a:cubicBezTo>
                  <a:cubicBezTo>
                    <a:pt x="1684" y="926"/>
                    <a:pt x="1685" y="925"/>
                    <a:pt x="1686" y="924"/>
                  </a:cubicBezTo>
                  <a:cubicBezTo>
                    <a:pt x="1714" y="900"/>
                    <a:pt x="1765" y="775"/>
                    <a:pt x="1784" y="727"/>
                  </a:cubicBezTo>
                  <a:cubicBezTo>
                    <a:pt x="1804" y="714"/>
                    <a:pt x="1815" y="696"/>
                    <a:pt x="1822" y="680"/>
                  </a:cubicBezTo>
                  <a:cubicBezTo>
                    <a:pt x="1809" y="684"/>
                    <a:pt x="1796" y="687"/>
                    <a:pt x="1784" y="687"/>
                  </a:cubicBezTo>
                  <a:close/>
                  <a:moveTo>
                    <a:pt x="1842" y="480"/>
                  </a:moveTo>
                  <a:cubicBezTo>
                    <a:pt x="1842" y="301"/>
                    <a:pt x="1704" y="157"/>
                    <a:pt x="1524" y="157"/>
                  </a:cubicBezTo>
                  <a:cubicBezTo>
                    <a:pt x="1344" y="157"/>
                    <a:pt x="1206" y="301"/>
                    <a:pt x="1206" y="480"/>
                  </a:cubicBezTo>
                  <a:cubicBezTo>
                    <a:pt x="1206" y="519"/>
                    <a:pt x="1213" y="598"/>
                    <a:pt x="1224" y="612"/>
                  </a:cubicBezTo>
                  <a:cubicBezTo>
                    <a:pt x="1256" y="640"/>
                    <a:pt x="1259" y="489"/>
                    <a:pt x="1349" y="428"/>
                  </a:cubicBezTo>
                  <a:cubicBezTo>
                    <a:pt x="1359" y="422"/>
                    <a:pt x="1380" y="410"/>
                    <a:pt x="1380" y="410"/>
                  </a:cubicBezTo>
                  <a:cubicBezTo>
                    <a:pt x="1579" y="409"/>
                    <a:pt x="1731" y="619"/>
                    <a:pt x="1767" y="639"/>
                  </a:cubicBezTo>
                  <a:cubicBezTo>
                    <a:pt x="1798" y="657"/>
                    <a:pt x="1864" y="610"/>
                    <a:pt x="1864" y="610"/>
                  </a:cubicBezTo>
                  <a:cubicBezTo>
                    <a:pt x="1845" y="583"/>
                    <a:pt x="1840" y="557"/>
                    <a:pt x="1841" y="540"/>
                  </a:cubicBezTo>
                  <a:cubicBezTo>
                    <a:pt x="1843" y="521"/>
                    <a:pt x="1842" y="500"/>
                    <a:pt x="1842" y="480"/>
                  </a:cubicBezTo>
                  <a:close/>
                  <a:moveTo>
                    <a:pt x="1000" y="982"/>
                  </a:moveTo>
                  <a:cubicBezTo>
                    <a:pt x="891" y="922"/>
                    <a:pt x="891" y="922"/>
                    <a:pt x="891" y="922"/>
                  </a:cubicBezTo>
                  <a:cubicBezTo>
                    <a:pt x="891" y="893"/>
                    <a:pt x="891" y="893"/>
                    <a:pt x="891" y="893"/>
                  </a:cubicBezTo>
                  <a:cubicBezTo>
                    <a:pt x="1281" y="893"/>
                    <a:pt x="1281" y="893"/>
                    <a:pt x="1281" y="893"/>
                  </a:cubicBezTo>
                  <a:cubicBezTo>
                    <a:pt x="1274" y="881"/>
                    <a:pt x="1267" y="866"/>
                    <a:pt x="1259" y="849"/>
                  </a:cubicBezTo>
                  <a:cubicBezTo>
                    <a:pt x="869" y="849"/>
                    <a:pt x="869" y="849"/>
                    <a:pt x="869" y="849"/>
                  </a:cubicBezTo>
                  <a:cubicBezTo>
                    <a:pt x="857" y="849"/>
                    <a:pt x="847" y="859"/>
                    <a:pt x="847" y="871"/>
                  </a:cubicBezTo>
                  <a:cubicBezTo>
                    <a:pt x="847" y="936"/>
                    <a:pt x="847" y="936"/>
                    <a:pt x="847" y="936"/>
                  </a:cubicBezTo>
                  <a:cubicBezTo>
                    <a:pt x="847" y="944"/>
                    <a:pt x="851" y="951"/>
                    <a:pt x="858" y="955"/>
                  </a:cubicBezTo>
                  <a:cubicBezTo>
                    <a:pt x="904" y="980"/>
                    <a:pt x="904" y="980"/>
                    <a:pt x="904" y="980"/>
                  </a:cubicBezTo>
                  <a:cubicBezTo>
                    <a:pt x="663" y="980"/>
                    <a:pt x="663" y="980"/>
                    <a:pt x="663" y="980"/>
                  </a:cubicBezTo>
                  <a:cubicBezTo>
                    <a:pt x="708" y="955"/>
                    <a:pt x="708" y="955"/>
                    <a:pt x="708" y="955"/>
                  </a:cubicBezTo>
                  <a:cubicBezTo>
                    <a:pt x="715" y="951"/>
                    <a:pt x="720" y="944"/>
                    <a:pt x="720" y="936"/>
                  </a:cubicBezTo>
                  <a:cubicBezTo>
                    <a:pt x="720" y="871"/>
                    <a:pt x="720" y="871"/>
                    <a:pt x="720" y="871"/>
                  </a:cubicBezTo>
                  <a:cubicBezTo>
                    <a:pt x="720" y="859"/>
                    <a:pt x="710" y="849"/>
                    <a:pt x="698" y="849"/>
                  </a:cubicBezTo>
                  <a:cubicBezTo>
                    <a:pt x="44" y="849"/>
                    <a:pt x="44" y="849"/>
                    <a:pt x="44" y="849"/>
                  </a:cubicBezTo>
                  <a:cubicBezTo>
                    <a:pt x="44" y="44"/>
                    <a:pt x="44" y="44"/>
                    <a:pt x="44" y="44"/>
                  </a:cubicBezTo>
                  <a:cubicBezTo>
                    <a:pt x="1523" y="44"/>
                    <a:pt x="1523" y="44"/>
                    <a:pt x="1523" y="44"/>
                  </a:cubicBezTo>
                  <a:cubicBezTo>
                    <a:pt x="1523" y="106"/>
                    <a:pt x="1523" y="106"/>
                    <a:pt x="1523" y="106"/>
                  </a:cubicBezTo>
                  <a:cubicBezTo>
                    <a:pt x="1523" y="106"/>
                    <a:pt x="1524" y="106"/>
                    <a:pt x="1524" y="106"/>
                  </a:cubicBezTo>
                  <a:cubicBezTo>
                    <a:pt x="1539" y="106"/>
                    <a:pt x="1553" y="107"/>
                    <a:pt x="1567" y="108"/>
                  </a:cubicBezTo>
                  <a:cubicBezTo>
                    <a:pt x="1567" y="22"/>
                    <a:pt x="1567" y="22"/>
                    <a:pt x="1567" y="22"/>
                  </a:cubicBezTo>
                  <a:cubicBezTo>
                    <a:pt x="1567" y="10"/>
                    <a:pt x="1557" y="0"/>
                    <a:pt x="1545" y="0"/>
                  </a:cubicBezTo>
                  <a:cubicBezTo>
                    <a:pt x="22" y="0"/>
                    <a:pt x="22" y="0"/>
                    <a:pt x="22" y="0"/>
                  </a:cubicBezTo>
                  <a:cubicBezTo>
                    <a:pt x="10" y="0"/>
                    <a:pt x="0" y="10"/>
                    <a:pt x="0" y="22"/>
                  </a:cubicBezTo>
                  <a:cubicBezTo>
                    <a:pt x="0" y="871"/>
                    <a:pt x="0" y="871"/>
                    <a:pt x="0" y="871"/>
                  </a:cubicBezTo>
                  <a:cubicBezTo>
                    <a:pt x="0" y="883"/>
                    <a:pt x="10" y="893"/>
                    <a:pt x="22" y="893"/>
                  </a:cubicBezTo>
                  <a:cubicBezTo>
                    <a:pt x="676" y="893"/>
                    <a:pt x="676" y="893"/>
                    <a:pt x="676" y="893"/>
                  </a:cubicBezTo>
                  <a:cubicBezTo>
                    <a:pt x="676" y="922"/>
                    <a:pt x="676" y="922"/>
                    <a:pt x="676" y="922"/>
                  </a:cubicBezTo>
                  <a:cubicBezTo>
                    <a:pt x="566" y="982"/>
                    <a:pt x="566" y="982"/>
                    <a:pt x="566" y="982"/>
                  </a:cubicBezTo>
                  <a:cubicBezTo>
                    <a:pt x="557" y="987"/>
                    <a:pt x="553" y="998"/>
                    <a:pt x="555" y="1007"/>
                  </a:cubicBezTo>
                  <a:cubicBezTo>
                    <a:pt x="558" y="1017"/>
                    <a:pt x="567" y="1024"/>
                    <a:pt x="577" y="1024"/>
                  </a:cubicBezTo>
                  <a:cubicBezTo>
                    <a:pt x="990" y="1024"/>
                    <a:pt x="990" y="1024"/>
                    <a:pt x="990" y="1024"/>
                  </a:cubicBezTo>
                  <a:cubicBezTo>
                    <a:pt x="1000" y="1024"/>
                    <a:pt x="1009" y="1017"/>
                    <a:pt x="1011" y="1007"/>
                  </a:cubicBezTo>
                  <a:cubicBezTo>
                    <a:pt x="1014" y="998"/>
                    <a:pt x="1009" y="987"/>
                    <a:pt x="1000" y="9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1" name="ee4pHeader1"/>
          <p:cNvSpPr txBox="1"/>
          <p:nvPr/>
        </p:nvSpPr>
        <p:spPr>
          <a:xfrm>
            <a:off x="431821" y="2669293"/>
            <a:ext cx="1938930" cy="246221"/>
          </a:xfrm>
          <a:prstGeom prst="rect">
            <a:avLst/>
          </a:prstGeom>
          <a:noFill/>
          <a:ln cap="rnd">
            <a:noFill/>
          </a:ln>
        </p:spPr>
        <p:txBody>
          <a:bodyPr wrap="square" lIns="0" tIns="0" rIns="0" bIns="0" rtlCol="0" anchor="ctr" anchorCtr="0">
            <a:spAutoFit/>
          </a:bodyPr>
          <a:lstStyle/>
          <a:p>
            <a:pPr marL="0" lvl="3" algn="ctr"/>
            <a:r>
              <a:rPr lang="en-US" sz="1600">
                <a:solidFill>
                  <a:schemeClr val="tx2"/>
                </a:solidFill>
              </a:rPr>
              <a:t>Structure</a:t>
            </a:r>
            <a:endParaRPr lang="en-US" sz="1600" dirty="0">
              <a:solidFill>
                <a:schemeClr val="tx2"/>
              </a:solidFill>
            </a:endParaRPr>
          </a:p>
        </p:txBody>
      </p:sp>
      <p:sp>
        <p:nvSpPr>
          <p:cNvPr id="47" name="ee4pHeader1"/>
          <p:cNvSpPr txBox="1"/>
          <p:nvPr/>
        </p:nvSpPr>
        <p:spPr>
          <a:xfrm>
            <a:off x="2975504" y="2669293"/>
            <a:ext cx="2098491" cy="492443"/>
          </a:xfrm>
          <a:prstGeom prst="rect">
            <a:avLst/>
          </a:prstGeom>
          <a:noFill/>
          <a:ln cap="rnd">
            <a:noFill/>
          </a:ln>
        </p:spPr>
        <p:txBody>
          <a:bodyPr wrap="square" lIns="0" tIns="0" rIns="0" bIns="0" rtlCol="0" anchor="ctr" anchorCtr="0">
            <a:spAutoFit/>
          </a:bodyPr>
          <a:lstStyle/>
          <a:p>
            <a:pPr marL="0" lvl="3" algn="ctr"/>
            <a:r>
              <a:rPr lang="en-US" sz="1600">
                <a:solidFill>
                  <a:schemeClr val="tx2"/>
                </a:solidFill>
              </a:rPr>
              <a:t>Hypotheses </a:t>
            </a:r>
            <a:r>
              <a:rPr lang="en-US" sz="1600">
                <a:solidFill>
                  <a:schemeClr val="tx1">
                    <a:lumMod val="100000"/>
                  </a:schemeClr>
                </a:solidFill>
                <a:latin typeface="Trebuchet MS" panose="020B0603020202020204" pitchFamily="34" charset="0"/>
              </a:rPr>
              <a:t>with a business sense</a:t>
            </a:r>
            <a:endParaRPr lang="en-US" sz="1600" dirty="0">
              <a:solidFill>
                <a:schemeClr val="tx1">
                  <a:lumMod val="100000"/>
                </a:schemeClr>
              </a:solidFill>
              <a:latin typeface="Trebuchet MS" panose="020B0603020202020204" pitchFamily="34" charset="0"/>
            </a:endParaRPr>
          </a:p>
        </p:txBody>
      </p:sp>
      <p:sp>
        <p:nvSpPr>
          <p:cNvPr id="48" name="ee4pHeader1"/>
          <p:cNvSpPr txBox="1"/>
          <p:nvPr/>
        </p:nvSpPr>
        <p:spPr>
          <a:xfrm>
            <a:off x="5623515" y="2669293"/>
            <a:ext cx="2049396" cy="492443"/>
          </a:xfrm>
          <a:prstGeom prst="rect">
            <a:avLst/>
          </a:prstGeom>
          <a:noFill/>
          <a:ln cap="rnd">
            <a:noFill/>
          </a:ln>
        </p:spPr>
        <p:txBody>
          <a:bodyPr wrap="square" lIns="0" tIns="0" rIns="0" bIns="0" rtlCol="0" anchor="ctr" anchorCtr="0">
            <a:spAutoFit/>
          </a:bodyPr>
          <a:lstStyle/>
          <a:p>
            <a:pPr algn="ctr">
              <a:buSzPct val="100000"/>
              <a:buFont typeface="Trebuchet MS" panose="020B0603020202020204" pitchFamily="34" charset="0"/>
              <a:buChar char="​"/>
            </a:pPr>
            <a:r>
              <a:rPr lang="en-US" sz="1600">
                <a:solidFill>
                  <a:schemeClr val="tx2"/>
                </a:solidFill>
              </a:rPr>
              <a:t>Data models </a:t>
            </a:r>
            <a:r>
              <a:rPr lang="en-US" sz="1600">
                <a:solidFill>
                  <a:schemeClr val="tx1">
                    <a:lumMod val="100000"/>
                  </a:schemeClr>
                </a:solidFill>
                <a:latin typeface="Trebuchet MS" panose="020B0603020202020204" pitchFamily="34" charset="0"/>
              </a:rPr>
              <a:t>to answer the problem</a:t>
            </a:r>
            <a:endParaRPr lang="en-US" sz="1600" dirty="0">
              <a:solidFill>
                <a:schemeClr val="tx1">
                  <a:lumMod val="100000"/>
                </a:schemeClr>
              </a:solidFill>
              <a:latin typeface="Trebuchet MS" panose="020B0603020202020204" pitchFamily="34" charset="0"/>
            </a:endParaRPr>
          </a:p>
        </p:txBody>
      </p:sp>
      <p:sp>
        <p:nvSpPr>
          <p:cNvPr id="49" name="ee4pHeader1"/>
          <p:cNvSpPr txBox="1"/>
          <p:nvPr/>
        </p:nvSpPr>
        <p:spPr>
          <a:xfrm>
            <a:off x="3055285" y="4719969"/>
            <a:ext cx="1938930" cy="246221"/>
          </a:xfrm>
          <a:prstGeom prst="rect">
            <a:avLst/>
          </a:prstGeom>
          <a:noFill/>
          <a:ln cap="rnd">
            <a:noFill/>
          </a:ln>
        </p:spPr>
        <p:txBody>
          <a:bodyPr wrap="square" lIns="0" tIns="0" rIns="0" bIns="0" rtlCol="0" anchor="ctr" anchorCtr="0">
            <a:spAutoFit/>
          </a:bodyPr>
          <a:lstStyle/>
          <a:p>
            <a:pPr marL="0" lvl="3" algn="ctr"/>
            <a:r>
              <a:rPr lang="en-US" sz="1600">
                <a:solidFill>
                  <a:schemeClr val="tx2"/>
                </a:solidFill>
              </a:rPr>
              <a:t>Creativity</a:t>
            </a:r>
            <a:endParaRPr lang="en-US" sz="1600" dirty="0">
              <a:solidFill>
                <a:schemeClr val="tx2"/>
              </a:solidFill>
            </a:endParaRPr>
          </a:p>
        </p:txBody>
      </p:sp>
      <p:sp>
        <p:nvSpPr>
          <p:cNvPr id="50" name="ee4pHeader1"/>
          <p:cNvSpPr txBox="1"/>
          <p:nvPr/>
        </p:nvSpPr>
        <p:spPr>
          <a:xfrm>
            <a:off x="431821" y="4719972"/>
            <a:ext cx="1938930" cy="738664"/>
          </a:xfrm>
          <a:prstGeom prst="rect">
            <a:avLst/>
          </a:prstGeom>
          <a:noFill/>
          <a:ln cap="rnd">
            <a:noFill/>
          </a:ln>
        </p:spPr>
        <p:txBody>
          <a:bodyPr wrap="square" lIns="0" tIns="0" rIns="0" bIns="0" rtlCol="0" anchor="ctr" anchorCtr="0">
            <a:spAutoFit/>
          </a:bodyPr>
          <a:lstStyle/>
          <a:p>
            <a:pPr algn="ctr">
              <a:buSzPct val="100000"/>
              <a:buFont typeface="Trebuchet MS" panose="020B0603020202020204" pitchFamily="34" charset="0"/>
              <a:buChar char="​"/>
            </a:pPr>
            <a:r>
              <a:rPr lang="en-US" sz="1600">
                <a:solidFill>
                  <a:schemeClr val="tx1">
                    <a:lumMod val="100000"/>
                  </a:schemeClr>
                </a:solidFill>
                <a:latin typeface="Trebuchet MS" panose="020B0603020202020204" pitchFamily="34" charset="0"/>
              </a:rPr>
              <a:t>Concrete, realistic and actionnable </a:t>
            </a:r>
            <a:r>
              <a:rPr lang="en-US" sz="1600">
                <a:solidFill>
                  <a:schemeClr val="tx2"/>
                </a:solidFill>
              </a:rPr>
              <a:t>plans of action</a:t>
            </a:r>
            <a:endParaRPr lang="en-US" sz="1600" dirty="0">
              <a:solidFill>
                <a:schemeClr val="tx1">
                  <a:lumMod val="100000"/>
                </a:schemeClr>
              </a:solidFill>
              <a:latin typeface="Trebuchet MS" panose="020B0603020202020204" pitchFamily="34" charset="0"/>
            </a:endParaRPr>
          </a:p>
        </p:txBody>
      </p:sp>
      <p:sp>
        <p:nvSpPr>
          <p:cNvPr id="51" name="ee4pHeader1"/>
          <p:cNvSpPr txBox="1"/>
          <p:nvPr/>
        </p:nvSpPr>
        <p:spPr>
          <a:xfrm>
            <a:off x="5678748" y="4719972"/>
            <a:ext cx="1938930" cy="738664"/>
          </a:xfrm>
          <a:prstGeom prst="rect">
            <a:avLst/>
          </a:prstGeom>
          <a:noFill/>
          <a:ln cap="rnd">
            <a:noFill/>
          </a:ln>
        </p:spPr>
        <p:txBody>
          <a:bodyPr wrap="square" lIns="0" tIns="0" rIns="0" bIns="0" rtlCol="0" anchor="ctr" anchorCtr="0">
            <a:spAutoFit/>
          </a:bodyPr>
          <a:lstStyle/>
          <a:p>
            <a:pPr marL="0" lvl="3" algn="ctr"/>
            <a:r>
              <a:rPr lang="en-US" sz="1600">
                <a:solidFill>
                  <a:schemeClr val="tx2"/>
                </a:solidFill>
              </a:rPr>
              <a:t>Presentations </a:t>
            </a:r>
          </a:p>
          <a:p>
            <a:pPr algn="ctr">
              <a:buSzPct val="100000"/>
            </a:pPr>
            <a:r>
              <a:rPr lang="en-US" sz="1600">
                <a:solidFill>
                  <a:schemeClr val="tx1">
                    <a:lumMod val="100000"/>
                  </a:schemeClr>
                </a:solidFill>
                <a:latin typeface="Trebuchet MS" panose="020B0603020202020204" pitchFamily="34" charset="0"/>
              </a:rPr>
              <a:t>with a clear  storyline</a:t>
            </a:r>
            <a:endParaRPr lang="en-US" sz="1600" dirty="0">
              <a:solidFill>
                <a:schemeClr val="tx1">
                  <a:lumMod val="100000"/>
                </a:schemeClr>
              </a:solidFill>
              <a:latin typeface="Trebuchet MS" panose="020B0603020202020204" pitchFamily="34" charset="0"/>
            </a:endParaRPr>
          </a:p>
        </p:txBody>
      </p:sp>
    </p:spTree>
    <p:extLst>
      <p:ext uri="{BB962C8B-B14F-4D97-AF65-F5344CB8AC3E}">
        <p14:creationId xmlns:p14="http://schemas.microsoft.com/office/powerpoint/2010/main" val="3208899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val 25">
            <a:extLst>
              <a:ext uri="{FF2B5EF4-FFF2-40B4-BE49-F238E27FC236}">
                <a16:creationId xmlns:a16="http://schemas.microsoft.com/office/drawing/2014/main" id="{C8C4A4FA-8002-9749-B74E-ED60D7B27F9B}"/>
              </a:ext>
            </a:extLst>
          </p:cNvPr>
          <p:cNvSpPr/>
          <p:nvPr>
            <p:custDataLst>
              <p:tags r:id="rId3"/>
            </p:custDataLst>
          </p:nvPr>
        </p:nvSpPr>
        <p:spPr>
          <a:xfrm>
            <a:off x="4714058" y="3848555"/>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chemeClr val="tx1">
                  <a:lumMod val="100000"/>
                </a:schemeClr>
              </a:solidFill>
              <a:latin typeface="Trebuchet MS" panose="020B0703020202090204" pitchFamily="34" charset="0"/>
            </a:endParaRPr>
          </a:p>
        </p:txBody>
      </p:sp>
      <p:pic>
        <p:nvPicPr>
          <p:cNvPr id="25" name="Picture 24">
            <a:extLst>
              <a:ext uri="{FF2B5EF4-FFF2-40B4-BE49-F238E27FC236}">
                <a16:creationId xmlns:a16="http://schemas.microsoft.com/office/drawing/2014/main" id="{50870B2E-4049-F64D-830F-397B7B0D512A}"/>
              </a:ext>
            </a:extLst>
          </p:cNvPr>
          <p:cNvPicPr>
            <a:picLocks/>
          </p:cNvPicPr>
          <p:nvPr>
            <p:custDataLst>
              <p:tags r:id="rId4"/>
            </p:custDataLst>
          </p:nvPr>
        </p:nvPicPr>
        <p:blipFill>
          <a:blip r:embed="rId11"/>
          <a:stretch>
            <a:fillRect/>
          </a:stretch>
        </p:blipFill>
        <p:spPr>
          <a:xfrm>
            <a:off x="4714058" y="3848555"/>
            <a:ext cx="293147" cy="292608"/>
          </a:xfrm>
          <a:prstGeom prst="rect">
            <a:avLst/>
          </a:prstGeom>
        </p:spPr>
      </p:pic>
      <p:sp>
        <p:nvSpPr>
          <p:cNvPr id="23" name="Rectangle 22">
            <a:hlinkClick r:id="rId12" action="ppaction://hlinksldjump"/>
            <a:extLst>
              <a:ext uri="{FF2B5EF4-FFF2-40B4-BE49-F238E27FC236}">
                <a16:creationId xmlns:a16="http://schemas.microsoft.com/office/drawing/2014/main" id="{ABC3DF2A-AF81-BF41-ABD3-75FAD791FBB2}"/>
              </a:ext>
            </a:extLst>
          </p:cNvPr>
          <p:cNvSpPr/>
          <p:nvPr>
            <p:custDataLst>
              <p:tags r:id="rId5"/>
            </p:custDataLst>
          </p:nvPr>
        </p:nvSpPr>
        <p:spPr>
          <a:xfrm>
            <a:off x="5166432" y="3807180"/>
            <a:ext cx="3282950"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Trebuchet MS" panose="020B0703020202090204" pitchFamily="34" charset="0"/>
              </a:rPr>
              <a:t>Your turn now!</a:t>
            </a:r>
          </a:p>
        </p:txBody>
      </p:sp>
      <p:sp>
        <p:nvSpPr>
          <p:cNvPr id="22" name="Rectangle 21">
            <a:hlinkClick r:id="rId13" action="ppaction://hlinksldjump"/>
            <a:extLst>
              <a:ext uri="{FF2B5EF4-FFF2-40B4-BE49-F238E27FC236}">
                <a16:creationId xmlns:a16="http://schemas.microsoft.com/office/drawing/2014/main" id="{FD0E1161-3018-4D4D-ACAE-DCEDF9FFB640}"/>
              </a:ext>
            </a:extLst>
          </p:cNvPr>
          <p:cNvSpPr/>
          <p:nvPr>
            <p:custDataLst>
              <p:tags r:id="rId6"/>
            </p:custDataLst>
          </p:nvPr>
        </p:nvSpPr>
        <p:spPr>
          <a:xfrm>
            <a:off x="5166432" y="3241321"/>
            <a:ext cx="3282950"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Trebuchet MS" panose="020B0703020202090204" pitchFamily="34" charset="0"/>
              </a:rPr>
              <a:t>Teams and Calendar</a:t>
            </a:r>
          </a:p>
        </p:txBody>
      </p:sp>
      <p:sp>
        <p:nvSpPr>
          <p:cNvPr id="21" name="Rectangle 20">
            <a:hlinkClick r:id="rId14" action="ppaction://hlinksldjump"/>
            <a:extLst>
              <a:ext uri="{FF2B5EF4-FFF2-40B4-BE49-F238E27FC236}">
                <a16:creationId xmlns:a16="http://schemas.microsoft.com/office/drawing/2014/main" id="{E6CBCE7C-B04E-144A-8FBD-148B094719A6}"/>
              </a:ext>
            </a:extLst>
          </p:cNvPr>
          <p:cNvSpPr/>
          <p:nvPr>
            <p:custDataLst>
              <p:tags r:id="rId7"/>
            </p:custDataLst>
          </p:nvPr>
        </p:nvSpPr>
        <p:spPr>
          <a:xfrm>
            <a:off x="5166432" y="2675462"/>
            <a:ext cx="3282950"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Trebuchet MS" panose="020B0703020202090204" pitchFamily="34" charset="0"/>
              </a:rPr>
              <a:t>Case Study Introduction</a:t>
            </a:r>
          </a:p>
        </p:txBody>
      </p:sp>
      <p:sp>
        <p:nvSpPr>
          <p:cNvPr id="20" name="Title 19">
            <a:extLst>
              <a:ext uri="{FF2B5EF4-FFF2-40B4-BE49-F238E27FC236}">
                <a16:creationId xmlns:a16="http://schemas.microsoft.com/office/drawing/2014/main" id="{6D6C2A0A-CB0E-6843-930B-3A5AC28F75A1}"/>
              </a:ext>
            </a:extLst>
          </p:cNvPr>
          <p:cNvSpPr>
            <a:spLocks noGrp="1"/>
          </p:cNvSpPr>
          <p:nvPr>
            <p:ph type="title"/>
            <p:custDataLst>
              <p:tags r:id="rId8"/>
            </p:custDataLst>
          </p:nvPr>
        </p:nvSpPr>
        <p:spPr/>
        <p:txBody>
          <a:bodyPr/>
          <a:lstStyle/>
          <a:p>
            <a:r>
              <a:rPr lang="en-US"/>
              <a:t>Agenda</a:t>
            </a:r>
          </a:p>
        </p:txBody>
      </p:sp>
      <p:graphicFrame>
        <p:nvGraphicFramePr>
          <p:cNvPr id="8" name="Object 7" hidden="1"/>
          <p:cNvGraphicFramePr>
            <a:graphicFrameLocks noChangeAspect="1"/>
          </p:cNvGraphicFramePr>
          <p:nvPr>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34" name="think-cell Slide" r:id="rId15" imgW="498" imgH="499" progId="TCLayout.ActiveDocument.1">
                  <p:embed/>
                </p:oleObj>
              </mc:Choice>
              <mc:Fallback>
                <p:oleObj name="think-cell Slide" r:id="rId15" imgW="498" imgH="499" progId="TCLayout.ActiveDocument.1">
                  <p:embed/>
                  <p:pic>
                    <p:nvPicPr>
                      <p:cNvPr id="8" name="Object 7" hidden="1"/>
                      <p:cNvPicPr/>
                      <p:nvPr/>
                    </p:nvPicPr>
                    <p:blipFill>
                      <a:blip r:embed="rId1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786646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25374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58"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200" cy="941796"/>
          </a:xfrm>
        </p:spPr>
        <p:txBody>
          <a:bodyPr/>
          <a:lstStyle/>
          <a:p>
            <a:r>
              <a:rPr lang="en-US" dirty="0"/>
              <a:t>Start by choosing 4 interviews out of those 8, to give you more insight </a:t>
            </a:r>
          </a:p>
        </p:txBody>
      </p:sp>
      <p:sp>
        <p:nvSpPr>
          <p:cNvPr id="5" name="Rounded Rectangle 4"/>
          <p:cNvSpPr/>
          <p:nvPr/>
        </p:nvSpPr>
        <p:spPr>
          <a:xfrm>
            <a:off x="629999" y="2028824"/>
            <a:ext cx="2748994" cy="1871663"/>
          </a:xfrm>
          <a:prstGeom prst="roundRect">
            <a:avLst/>
          </a:prstGeom>
          <a:noFill/>
          <a:ln w="127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dirty="0">
                <a:solidFill>
                  <a:srgbClr val="575757"/>
                </a:solidFill>
              </a:rPr>
              <a:t>Client: </a:t>
            </a:r>
            <a:r>
              <a:rPr lang="en-US" sz="1200" dirty="0">
                <a:solidFill>
                  <a:srgbClr val="575757"/>
                </a:solidFill>
              </a:rPr>
              <a:t>Chief Data Officer </a:t>
            </a:r>
          </a:p>
          <a:p>
            <a:r>
              <a:rPr lang="en-US" sz="1200" b="1" dirty="0">
                <a:solidFill>
                  <a:srgbClr val="575757"/>
                </a:solidFill>
              </a:rPr>
              <a:t>Time in the company: </a:t>
            </a:r>
            <a:r>
              <a:rPr lang="en-US" sz="1200" dirty="0">
                <a:solidFill>
                  <a:srgbClr val="575757"/>
                </a:solidFill>
              </a:rPr>
              <a:t>3 months</a:t>
            </a:r>
          </a:p>
          <a:p>
            <a:pPr lvl="0"/>
            <a:r>
              <a:rPr lang="en-US" sz="1200" b="1" dirty="0">
                <a:solidFill>
                  <a:srgbClr val="575757"/>
                </a:solidFill>
              </a:rPr>
              <a:t>Interview Extract</a:t>
            </a:r>
            <a:r>
              <a:rPr lang="en-US" sz="1200" dirty="0">
                <a:solidFill>
                  <a:srgbClr val="575757"/>
                </a:solidFill>
              </a:rPr>
              <a:t>: "</a:t>
            </a:r>
            <a:r>
              <a:rPr lang="en-US" sz="1200" i="1" dirty="0">
                <a:solidFill>
                  <a:srgbClr val="575757"/>
                </a:solidFill>
              </a:rPr>
              <a:t>In the long run, ambition to digitize a significant portion of the business and to build advantage on advanced analytics and capabilities"</a:t>
            </a:r>
            <a:endParaRPr lang="fr-FR" sz="1200" i="1" dirty="0">
              <a:solidFill>
                <a:srgbClr val="575757"/>
              </a:solidFill>
            </a:endParaRPr>
          </a:p>
          <a:p>
            <a:endParaRPr lang="en-US" sz="1200" dirty="0">
              <a:solidFill>
                <a:srgbClr val="575757"/>
              </a:solidFill>
            </a:endParaRPr>
          </a:p>
        </p:txBody>
      </p:sp>
      <p:sp>
        <p:nvSpPr>
          <p:cNvPr id="13" name="Rounded Rectangle 12"/>
          <p:cNvSpPr/>
          <p:nvPr/>
        </p:nvSpPr>
        <p:spPr>
          <a:xfrm>
            <a:off x="3466264" y="2028825"/>
            <a:ext cx="2748994" cy="1871663"/>
          </a:xfrm>
          <a:prstGeom prst="roundRect">
            <a:avLst/>
          </a:prstGeom>
          <a:noFill/>
          <a:ln w="127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dirty="0">
                <a:solidFill>
                  <a:srgbClr val="575757"/>
                </a:solidFill>
              </a:rPr>
              <a:t>Client: </a:t>
            </a:r>
            <a:r>
              <a:rPr lang="en-US" sz="1200" dirty="0">
                <a:solidFill>
                  <a:srgbClr val="575757"/>
                </a:solidFill>
              </a:rPr>
              <a:t>Head of Strategy</a:t>
            </a:r>
          </a:p>
          <a:p>
            <a:r>
              <a:rPr lang="en-US" sz="1200" b="1" dirty="0">
                <a:solidFill>
                  <a:srgbClr val="575757"/>
                </a:solidFill>
              </a:rPr>
              <a:t>Time in the company: </a:t>
            </a:r>
            <a:r>
              <a:rPr lang="en-US" sz="1200" dirty="0">
                <a:solidFill>
                  <a:srgbClr val="575757"/>
                </a:solidFill>
              </a:rPr>
              <a:t>30 years</a:t>
            </a:r>
          </a:p>
          <a:p>
            <a:pPr lvl="0"/>
            <a:r>
              <a:rPr lang="en-US" sz="1200" b="1" dirty="0">
                <a:solidFill>
                  <a:srgbClr val="575757"/>
                </a:solidFill>
              </a:rPr>
              <a:t>Interview Extract</a:t>
            </a:r>
            <a:r>
              <a:rPr lang="en-US" sz="1200" dirty="0">
                <a:solidFill>
                  <a:srgbClr val="575757"/>
                </a:solidFill>
              </a:rPr>
              <a:t>: "</a:t>
            </a:r>
            <a:r>
              <a:rPr lang="en-US" sz="1200" i="1" dirty="0">
                <a:solidFill>
                  <a:srgbClr val="575757"/>
                </a:solidFill>
              </a:rPr>
              <a:t>Data has deeply changed B2C business through hyper personalization and increased convenience for end customer, but B2B has faced some delay before entering fully the digital era"</a:t>
            </a:r>
            <a:endParaRPr lang="fr-FR" sz="1200" i="1" dirty="0">
              <a:solidFill>
                <a:srgbClr val="575757"/>
              </a:solidFill>
            </a:endParaRPr>
          </a:p>
          <a:p>
            <a:endParaRPr lang="en-US" sz="1200" i="1" dirty="0">
              <a:solidFill>
                <a:srgbClr val="575757"/>
              </a:solidFill>
            </a:endParaRPr>
          </a:p>
        </p:txBody>
      </p:sp>
      <p:sp>
        <p:nvSpPr>
          <p:cNvPr id="14" name="Rounded Rectangle 13"/>
          <p:cNvSpPr/>
          <p:nvPr/>
        </p:nvSpPr>
        <p:spPr>
          <a:xfrm>
            <a:off x="6302531" y="2028825"/>
            <a:ext cx="2748994" cy="1871663"/>
          </a:xfrm>
          <a:prstGeom prst="roundRect">
            <a:avLst/>
          </a:prstGeom>
          <a:noFill/>
          <a:ln w="127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dirty="0">
                <a:solidFill>
                  <a:srgbClr val="575757"/>
                </a:solidFill>
              </a:rPr>
              <a:t>Client: </a:t>
            </a:r>
            <a:r>
              <a:rPr lang="en-US" sz="1200" dirty="0">
                <a:solidFill>
                  <a:srgbClr val="575757"/>
                </a:solidFill>
              </a:rPr>
              <a:t>Sales Manager</a:t>
            </a:r>
          </a:p>
          <a:p>
            <a:r>
              <a:rPr lang="en-US" sz="1200" b="1" dirty="0">
                <a:solidFill>
                  <a:srgbClr val="575757"/>
                </a:solidFill>
              </a:rPr>
              <a:t>Time in the company: </a:t>
            </a:r>
            <a:r>
              <a:rPr lang="en-US" sz="1200" dirty="0">
                <a:solidFill>
                  <a:srgbClr val="575757"/>
                </a:solidFill>
              </a:rPr>
              <a:t>10 years</a:t>
            </a:r>
          </a:p>
          <a:p>
            <a:pPr lvl="0"/>
            <a:r>
              <a:rPr lang="en-US" sz="1200" b="1" dirty="0">
                <a:solidFill>
                  <a:srgbClr val="575757"/>
                </a:solidFill>
              </a:rPr>
              <a:t>Interview Extract</a:t>
            </a:r>
            <a:r>
              <a:rPr lang="en-US" sz="1200" dirty="0">
                <a:solidFill>
                  <a:srgbClr val="575757"/>
                </a:solidFill>
              </a:rPr>
              <a:t>: "</a:t>
            </a:r>
            <a:r>
              <a:rPr lang="en-US" sz="1200" i="1" dirty="0">
                <a:solidFill>
                  <a:srgbClr val="575757"/>
                </a:solidFill>
              </a:rPr>
              <a:t>There are few data on customers, but to him, data cannot summarize a relationship with customers"</a:t>
            </a:r>
          </a:p>
        </p:txBody>
      </p:sp>
      <p:sp>
        <p:nvSpPr>
          <p:cNvPr id="15" name="Rounded Rectangle 14"/>
          <p:cNvSpPr/>
          <p:nvPr/>
        </p:nvSpPr>
        <p:spPr>
          <a:xfrm>
            <a:off x="9138795" y="2028825"/>
            <a:ext cx="2748994" cy="1871663"/>
          </a:xfrm>
          <a:prstGeom prst="roundRect">
            <a:avLst/>
          </a:prstGeom>
          <a:noFill/>
          <a:ln w="127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dirty="0">
                <a:solidFill>
                  <a:srgbClr val="575757"/>
                </a:solidFill>
              </a:rPr>
              <a:t>Client: </a:t>
            </a:r>
            <a:r>
              <a:rPr lang="en-US" sz="1200" dirty="0">
                <a:solidFill>
                  <a:srgbClr val="575757"/>
                </a:solidFill>
              </a:rPr>
              <a:t>Supply Chain Manager</a:t>
            </a:r>
          </a:p>
          <a:p>
            <a:r>
              <a:rPr lang="en-US" sz="1200" b="1" dirty="0">
                <a:solidFill>
                  <a:srgbClr val="575757"/>
                </a:solidFill>
              </a:rPr>
              <a:t>Time in the company: </a:t>
            </a:r>
            <a:r>
              <a:rPr lang="en-US" sz="1200" dirty="0">
                <a:solidFill>
                  <a:srgbClr val="575757"/>
                </a:solidFill>
              </a:rPr>
              <a:t>3 years</a:t>
            </a:r>
          </a:p>
          <a:p>
            <a:pPr lvl="0"/>
            <a:r>
              <a:rPr lang="en-US" sz="1200" b="1" dirty="0">
                <a:solidFill>
                  <a:srgbClr val="575757"/>
                </a:solidFill>
              </a:rPr>
              <a:t>Interview Extract</a:t>
            </a:r>
            <a:r>
              <a:rPr lang="en-US" sz="1200" dirty="0">
                <a:solidFill>
                  <a:srgbClr val="575757"/>
                </a:solidFill>
              </a:rPr>
              <a:t>: "</a:t>
            </a:r>
            <a:r>
              <a:rPr lang="en-US" sz="1200" i="1" dirty="0">
                <a:solidFill>
                  <a:srgbClr val="575757"/>
                </a:solidFill>
              </a:rPr>
              <a:t>Supply chain is key to client satisfaction and margin increase"</a:t>
            </a:r>
          </a:p>
        </p:txBody>
      </p:sp>
      <p:sp>
        <p:nvSpPr>
          <p:cNvPr id="16" name="Rounded Rectangle 15"/>
          <p:cNvSpPr/>
          <p:nvPr/>
        </p:nvSpPr>
        <p:spPr>
          <a:xfrm>
            <a:off x="630000" y="4138870"/>
            <a:ext cx="2748994" cy="1871663"/>
          </a:xfrm>
          <a:prstGeom prst="roundRect">
            <a:avLst/>
          </a:prstGeom>
          <a:noFill/>
          <a:ln w="127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dirty="0">
                <a:solidFill>
                  <a:srgbClr val="575757"/>
                </a:solidFill>
              </a:rPr>
              <a:t>Clients: </a:t>
            </a:r>
            <a:r>
              <a:rPr lang="en-US" sz="1200" dirty="0">
                <a:solidFill>
                  <a:srgbClr val="575757"/>
                </a:solidFill>
              </a:rPr>
              <a:t>Data Manager &amp; Data Engineer </a:t>
            </a:r>
          </a:p>
          <a:p>
            <a:r>
              <a:rPr lang="en-US" sz="1200" b="1" dirty="0">
                <a:solidFill>
                  <a:srgbClr val="575757"/>
                </a:solidFill>
              </a:rPr>
              <a:t>Time in the company: </a:t>
            </a:r>
            <a:r>
              <a:rPr lang="en-US" sz="1200" dirty="0">
                <a:solidFill>
                  <a:srgbClr val="575757"/>
                </a:solidFill>
              </a:rPr>
              <a:t>3&amp;2 yrs.</a:t>
            </a:r>
          </a:p>
          <a:p>
            <a:pPr lvl="0"/>
            <a:r>
              <a:rPr lang="en-US" sz="1200" b="1" dirty="0">
                <a:solidFill>
                  <a:srgbClr val="575757"/>
                </a:solidFill>
              </a:rPr>
              <a:t>Interview Extract</a:t>
            </a:r>
            <a:r>
              <a:rPr lang="en-US" sz="1200" dirty="0">
                <a:solidFill>
                  <a:srgbClr val="575757"/>
                </a:solidFill>
              </a:rPr>
              <a:t>: "</a:t>
            </a:r>
            <a:r>
              <a:rPr lang="en-US" sz="1200" i="1" dirty="0">
                <a:solidFill>
                  <a:srgbClr val="575757"/>
                </a:solidFill>
              </a:rPr>
              <a:t>External help would be much appreciated as it could help structure the team and projects and show company management what can be done"</a:t>
            </a:r>
            <a:endParaRPr lang="en-US" sz="1200" dirty="0">
              <a:solidFill>
                <a:srgbClr val="575757"/>
              </a:solidFill>
            </a:endParaRPr>
          </a:p>
        </p:txBody>
      </p:sp>
      <p:sp>
        <p:nvSpPr>
          <p:cNvPr id="17" name="Rounded Rectangle 16"/>
          <p:cNvSpPr/>
          <p:nvPr/>
        </p:nvSpPr>
        <p:spPr>
          <a:xfrm>
            <a:off x="3466264" y="4138870"/>
            <a:ext cx="2748994" cy="1871663"/>
          </a:xfrm>
          <a:prstGeom prst="roundRect">
            <a:avLst/>
          </a:prstGeom>
          <a:noFill/>
          <a:ln w="127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dirty="0">
                <a:solidFill>
                  <a:srgbClr val="575757"/>
                </a:solidFill>
              </a:rPr>
              <a:t>Interviewee: </a:t>
            </a:r>
            <a:r>
              <a:rPr lang="en-US" sz="1200" dirty="0">
                <a:solidFill>
                  <a:srgbClr val="575757"/>
                </a:solidFill>
              </a:rPr>
              <a:t>BCG former client</a:t>
            </a:r>
          </a:p>
          <a:p>
            <a:r>
              <a:rPr lang="en-US" sz="1200" b="1" dirty="0">
                <a:solidFill>
                  <a:srgbClr val="575757"/>
                </a:solidFill>
              </a:rPr>
              <a:t>Mission date: </a:t>
            </a:r>
            <a:r>
              <a:rPr lang="en-US" sz="1200" dirty="0">
                <a:solidFill>
                  <a:srgbClr val="575757"/>
                </a:solidFill>
              </a:rPr>
              <a:t>2 years ago</a:t>
            </a:r>
            <a:endParaRPr lang="en-US" sz="1200" b="1" dirty="0">
              <a:solidFill>
                <a:srgbClr val="575757"/>
              </a:solidFill>
            </a:endParaRPr>
          </a:p>
          <a:p>
            <a:pPr lvl="0"/>
            <a:r>
              <a:rPr lang="en-US" sz="1200" b="1" dirty="0">
                <a:solidFill>
                  <a:srgbClr val="575757"/>
                </a:solidFill>
              </a:rPr>
              <a:t>Interview Extract</a:t>
            </a:r>
            <a:r>
              <a:rPr lang="en-US" sz="1200" dirty="0">
                <a:solidFill>
                  <a:srgbClr val="575757"/>
                </a:solidFill>
              </a:rPr>
              <a:t>: "</a:t>
            </a:r>
            <a:r>
              <a:rPr lang="en-US" sz="1200" i="1" dirty="0">
                <a:solidFill>
                  <a:srgbClr val="575757"/>
                </a:solidFill>
              </a:rPr>
              <a:t>All of this has given great insights for next projects as they are now preparing to deploy advanced analytics program to manage assortment and category management"</a:t>
            </a:r>
            <a:endParaRPr lang="fr-FR" sz="1200" i="1" dirty="0">
              <a:solidFill>
                <a:srgbClr val="575757"/>
              </a:solidFill>
            </a:endParaRPr>
          </a:p>
        </p:txBody>
      </p:sp>
      <p:sp>
        <p:nvSpPr>
          <p:cNvPr id="18" name="Rounded Rectangle 17"/>
          <p:cNvSpPr/>
          <p:nvPr/>
        </p:nvSpPr>
        <p:spPr>
          <a:xfrm>
            <a:off x="6302531" y="4138870"/>
            <a:ext cx="2748994" cy="1871663"/>
          </a:xfrm>
          <a:prstGeom prst="roundRect">
            <a:avLst/>
          </a:prstGeom>
          <a:noFill/>
          <a:ln w="127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dirty="0">
                <a:solidFill>
                  <a:srgbClr val="575757"/>
                </a:solidFill>
              </a:rPr>
              <a:t>Clients: </a:t>
            </a:r>
            <a:r>
              <a:rPr lang="en-US" sz="1200" dirty="0">
                <a:solidFill>
                  <a:srgbClr val="575757"/>
                </a:solidFill>
              </a:rPr>
              <a:t>Head of sales &amp; Key Account Manager </a:t>
            </a:r>
          </a:p>
          <a:p>
            <a:r>
              <a:rPr lang="en-US" sz="1200" b="1" dirty="0">
                <a:solidFill>
                  <a:srgbClr val="575757"/>
                </a:solidFill>
              </a:rPr>
              <a:t>Time in the company: </a:t>
            </a:r>
            <a:r>
              <a:rPr lang="en-US" sz="1200" dirty="0">
                <a:solidFill>
                  <a:srgbClr val="575757"/>
                </a:solidFill>
              </a:rPr>
              <a:t>10&amp;2 yrs.</a:t>
            </a:r>
          </a:p>
          <a:p>
            <a:pPr lvl="0"/>
            <a:r>
              <a:rPr lang="en-US" sz="1200" b="1" dirty="0">
                <a:solidFill>
                  <a:srgbClr val="575757"/>
                </a:solidFill>
              </a:rPr>
              <a:t>Interview Extract</a:t>
            </a:r>
            <a:r>
              <a:rPr lang="en-US" sz="1200" dirty="0">
                <a:solidFill>
                  <a:srgbClr val="575757"/>
                </a:solidFill>
              </a:rPr>
              <a:t>: "</a:t>
            </a:r>
            <a:r>
              <a:rPr lang="en-US" sz="1200" i="1" dirty="0">
                <a:solidFill>
                  <a:srgbClr val="575757"/>
                </a:solidFill>
              </a:rPr>
              <a:t>Key performance factor for sales team resides in choosing where to put sales efforts to maximize sales uplift with limited resources"</a:t>
            </a:r>
            <a:endParaRPr lang="fr-FR" sz="1200" i="1" dirty="0">
              <a:solidFill>
                <a:srgbClr val="575757"/>
              </a:solidFill>
            </a:endParaRPr>
          </a:p>
        </p:txBody>
      </p:sp>
      <p:sp>
        <p:nvSpPr>
          <p:cNvPr id="19" name="Rounded Rectangle 18"/>
          <p:cNvSpPr/>
          <p:nvPr/>
        </p:nvSpPr>
        <p:spPr>
          <a:xfrm>
            <a:off x="9138795" y="4138870"/>
            <a:ext cx="2748994" cy="1871663"/>
          </a:xfrm>
          <a:prstGeom prst="roundRect">
            <a:avLst/>
          </a:prstGeom>
          <a:noFill/>
          <a:ln w="127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dirty="0">
                <a:solidFill>
                  <a:srgbClr val="575757"/>
                </a:solidFill>
              </a:rPr>
              <a:t>Client: </a:t>
            </a:r>
            <a:r>
              <a:rPr lang="en-US" sz="1200" dirty="0">
                <a:solidFill>
                  <a:srgbClr val="575757"/>
                </a:solidFill>
              </a:rPr>
              <a:t>Commercial Director</a:t>
            </a:r>
          </a:p>
          <a:p>
            <a:r>
              <a:rPr lang="en-US" sz="1200" b="1" dirty="0">
                <a:solidFill>
                  <a:srgbClr val="575757"/>
                </a:solidFill>
              </a:rPr>
              <a:t>Time in the company: </a:t>
            </a:r>
            <a:r>
              <a:rPr lang="en-US" sz="1200" dirty="0">
                <a:solidFill>
                  <a:srgbClr val="575757"/>
                </a:solidFill>
              </a:rPr>
              <a:t>N/A</a:t>
            </a:r>
          </a:p>
          <a:p>
            <a:pPr lvl="0"/>
            <a:r>
              <a:rPr lang="en-US" sz="1200" b="1" dirty="0">
                <a:solidFill>
                  <a:srgbClr val="575757"/>
                </a:solidFill>
              </a:rPr>
              <a:t>Interview Extract</a:t>
            </a:r>
            <a:r>
              <a:rPr lang="en-US" sz="1200" dirty="0">
                <a:solidFill>
                  <a:srgbClr val="575757"/>
                </a:solidFill>
              </a:rPr>
              <a:t>: "</a:t>
            </a:r>
            <a:r>
              <a:rPr lang="en-US" sz="1200" i="1" dirty="0">
                <a:solidFill>
                  <a:srgbClr val="575757"/>
                </a:solidFill>
              </a:rPr>
              <a:t>Clear success measurement would be extremely useful to help onboard the organization and start scaling up initiatives (…)but it currently remains a deep pain point"</a:t>
            </a:r>
            <a:endParaRPr lang="fr-FR" sz="1200" i="1" dirty="0">
              <a:solidFill>
                <a:srgbClr val="575757"/>
              </a:solidFill>
            </a:endParaRPr>
          </a:p>
        </p:txBody>
      </p:sp>
      <p:grpSp>
        <p:nvGrpSpPr>
          <p:cNvPr id="20" name="Group 19"/>
          <p:cNvGrpSpPr>
            <a:grpSpLocks noChangeAspect="1"/>
          </p:cNvGrpSpPr>
          <p:nvPr/>
        </p:nvGrpSpPr>
        <p:grpSpPr>
          <a:xfrm>
            <a:off x="391837" y="1790441"/>
            <a:ext cx="476323" cy="476765"/>
            <a:chOff x="5273801" y="2606040"/>
            <a:chExt cx="1644396" cy="1645920"/>
          </a:xfrm>
        </p:grpSpPr>
        <p:sp>
          <p:nvSpPr>
            <p:cNvPr id="21" name="AutoShape 23">
              <a:extLst>
                <a:ext uri="{FF2B5EF4-FFF2-40B4-BE49-F238E27FC236}">
                  <a16:creationId xmlns:a16="http://schemas.microsoft.com/office/drawing/2014/main" id="{3B51CA84-BC38-422B-8ADA-5C0D31122932}"/>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2" name="Group 21"/>
            <p:cNvGrpSpPr/>
            <p:nvPr/>
          </p:nvGrpSpPr>
          <p:grpSpPr>
            <a:xfrm>
              <a:off x="5450966" y="2805303"/>
              <a:ext cx="1288923" cy="1200912"/>
              <a:chOff x="5450966" y="2805303"/>
              <a:chExt cx="1288923" cy="1200912"/>
            </a:xfrm>
          </p:grpSpPr>
          <p:sp>
            <p:nvSpPr>
              <p:cNvPr id="23" name="Freeform 25">
                <a:extLst>
                  <a:ext uri="{FF2B5EF4-FFF2-40B4-BE49-F238E27FC236}">
                    <a16:creationId xmlns:a16="http://schemas.microsoft.com/office/drawing/2014/main" id="{E9905D5D-B4F3-402C-A5B3-BEE51804C009}"/>
                  </a:ext>
                </a:extLst>
              </p:cNvPr>
              <p:cNvSpPr>
                <a:spLocks noEditPoints="1"/>
              </p:cNvSpPr>
              <p:nvPr/>
            </p:nvSpPr>
            <p:spPr bwMode="auto">
              <a:xfrm>
                <a:off x="5450966" y="3319653"/>
                <a:ext cx="1288923" cy="686562"/>
              </a:xfrm>
              <a:custGeom>
                <a:avLst/>
                <a:gdLst>
                  <a:gd name="T0" fmla="*/ 477 w 1806"/>
                  <a:gd name="T1" fmla="*/ 24 h 961"/>
                  <a:gd name="T2" fmla="*/ 523 w 1806"/>
                  <a:gd name="T3" fmla="*/ 77 h 961"/>
                  <a:gd name="T4" fmla="*/ 533 w 1806"/>
                  <a:gd name="T5" fmla="*/ 89 h 961"/>
                  <a:gd name="T6" fmla="*/ 677 w 1806"/>
                  <a:gd name="T7" fmla="*/ 391 h 961"/>
                  <a:gd name="T8" fmla="*/ 903 w 1806"/>
                  <a:gd name="T9" fmla="*/ 504 h 961"/>
                  <a:gd name="T10" fmla="*/ 1129 w 1806"/>
                  <a:gd name="T11" fmla="*/ 391 h 961"/>
                  <a:gd name="T12" fmla="*/ 1272 w 1806"/>
                  <a:gd name="T13" fmla="*/ 89 h 961"/>
                  <a:gd name="T14" fmla="*/ 1283 w 1806"/>
                  <a:gd name="T15" fmla="*/ 77 h 961"/>
                  <a:gd name="T16" fmla="*/ 1329 w 1806"/>
                  <a:gd name="T17" fmla="*/ 24 h 961"/>
                  <a:gd name="T18" fmla="*/ 1380 w 1806"/>
                  <a:gd name="T19" fmla="*/ 0 h 961"/>
                  <a:gd name="T20" fmla="*/ 1380 w 1806"/>
                  <a:gd name="T21" fmla="*/ 3 h 961"/>
                  <a:gd name="T22" fmla="*/ 1310 w 1806"/>
                  <a:gd name="T23" fmla="*/ 112 h 961"/>
                  <a:gd name="T24" fmla="*/ 1167 w 1806"/>
                  <a:gd name="T25" fmla="*/ 414 h 961"/>
                  <a:gd name="T26" fmla="*/ 1167 w 1806"/>
                  <a:gd name="T27" fmla="*/ 510 h 961"/>
                  <a:gd name="T28" fmla="*/ 1123 w 1806"/>
                  <a:gd name="T29" fmla="*/ 524 h 961"/>
                  <a:gd name="T30" fmla="*/ 1123 w 1806"/>
                  <a:gd name="T31" fmla="*/ 451 h 961"/>
                  <a:gd name="T32" fmla="*/ 903 w 1806"/>
                  <a:gd name="T33" fmla="*/ 548 h 961"/>
                  <a:gd name="T34" fmla="*/ 683 w 1806"/>
                  <a:gd name="T35" fmla="*/ 452 h 961"/>
                  <a:gd name="T36" fmla="*/ 683 w 1806"/>
                  <a:gd name="T37" fmla="*/ 524 h 961"/>
                  <a:gd name="T38" fmla="*/ 639 w 1806"/>
                  <a:gd name="T39" fmla="*/ 510 h 961"/>
                  <a:gd name="T40" fmla="*/ 639 w 1806"/>
                  <a:gd name="T41" fmla="*/ 414 h 961"/>
                  <a:gd name="T42" fmla="*/ 495 w 1806"/>
                  <a:gd name="T43" fmla="*/ 112 h 961"/>
                  <a:gd name="T44" fmla="*/ 426 w 1806"/>
                  <a:gd name="T45" fmla="*/ 5 h 961"/>
                  <a:gd name="T46" fmla="*/ 426 w 1806"/>
                  <a:gd name="T47" fmla="*/ 0 h 961"/>
                  <a:gd name="T48" fmla="*/ 477 w 1806"/>
                  <a:gd name="T49" fmla="*/ 24 h 961"/>
                  <a:gd name="T50" fmla="*/ 887 w 1806"/>
                  <a:gd name="T51" fmla="*/ 757 h 961"/>
                  <a:gd name="T52" fmla="*/ 903 w 1806"/>
                  <a:gd name="T53" fmla="*/ 754 h 961"/>
                  <a:gd name="T54" fmla="*/ 919 w 1806"/>
                  <a:gd name="T55" fmla="*/ 757 h 961"/>
                  <a:gd name="T56" fmla="*/ 1016 w 1806"/>
                  <a:gd name="T57" fmla="*/ 679 h 961"/>
                  <a:gd name="T58" fmla="*/ 993 w 1806"/>
                  <a:gd name="T59" fmla="*/ 679 h 961"/>
                  <a:gd name="T60" fmla="*/ 908 w 1806"/>
                  <a:gd name="T61" fmla="*/ 684 h 961"/>
                  <a:gd name="T62" fmla="*/ 898 w 1806"/>
                  <a:gd name="T63" fmla="*/ 684 h 961"/>
                  <a:gd name="T64" fmla="*/ 813 w 1806"/>
                  <a:gd name="T65" fmla="*/ 679 h 961"/>
                  <a:gd name="T66" fmla="*/ 790 w 1806"/>
                  <a:gd name="T67" fmla="*/ 679 h 961"/>
                  <a:gd name="T68" fmla="*/ 887 w 1806"/>
                  <a:gd name="T69" fmla="*/ 757 h 961"/>
                  <a:gd name="T70" fmla="*/ 1801 w 1806"/>
                  <a:gd name="T71" fmla="*/ 931 h 961"/>
                  <a:gd name="T72" fmla="*/ 1583 w 1806"/>
                  <a:gd name="T73" fmla="*/ 614 h 961"/>
                  <a:gd name="T74" fmla="*/ 1255 w 1806"/>
                  <a:gd name="T75" fmla="*/ 550 h 961"/>
                  <a:gd name="T76" fmla="*/ 1302 w 1806"/>
                  <a:gd name="T77" fmla="*/ 704 h 961"/>
                  <a:gd name="T78" fmla="*/ 1248 w 1806"/>
                  <a:gd name="T79" fmla="*/ 755 h 961"/>
                  <a:gd name="T80" fmla="*/ 1210 w 1806"/>
                  <a:gd name="T81" fmla="*/ 740 h 961"/>
                  <a:gd name="T82" fmla="*/ 1080 w 1806"/>
                  <a:gd name="T83" fmla="*/ 685 h 961"/>
                  <a:gd name="T84" fmla="*/ 951 w 1806"/>
                  <a:gd name="T85" fmla="*/ 788 h 961"/>
                  <a:gd name="T86" fmla="*/ 954 w 1806"/>
                  <a:gd name="T87" fmla="*/ 805 h 961"/>
                  <a:gd name="T88" fmla="*/ 954 w 1806"/>
                  <a:gd name="T89" fmla="*/ 915 h 961"/>
                  <a:gd name="T90" fmla="*/ 903 w 1806"/>
                  <a:gd name="T91" fmla="*/ 915 h 961"/>
                  <a:gd name="T92" fmla="*/ 903 w 1806"/>
                  <a:gd name="T93" fmla="*/ 856 h 961"/>
                  <a:gd name="T94" fmla="*/ 852 w 1806"/>
                  <a:gd name="T95" fmla="*/ 805 h 961"/>
                  <a:gd name="T96" fmla="*/ 855 w 1806"/>
                  <a:gd name="T97" fmla="*/ 788 h 961"/>
                  <a:gd name="T98" fmla="*/ 726 w 1806"/>
                  <a:gd name="T99" fmla="*/ 685 h 961"/>
                  <a:gd name="T100" fmla="*/ 596 w 1806"/>
                  <a:gd name="T101" fmla="*/ 740 h 961"/>
                  <a:gd name="T102" fmla="*/ 558 w 1806"/>
                  <a:gd name="T103" fmla="*/ 755 h 961"/>
                  <a:gd name="T104" fmla="*/ 558 w 1806"/>
                  <a:gd name="T105" fmla="*/ 755 h 961"/>
                  <a:gd name="T106" fmla="*/ 504 w 1806"/>
                  <a:gd name="T107" fmla="*/ 704 h 961"/>
                  <a:gd name="T108" fmla="*/ 551 w 1806"/>
                  <a:gd name="T109" fmla="*/ 550 h 961"/>
                  <a:gd name="T110" fmla="*/ 223 w 1806"/>
                  <a:gd name="T111" fmla="*/ 614 h 961"/>
                  <a:gd name="T112" fmla="*/ 5 w 1806"/>
                  <a:gd name="T113" fmla="*/ 931 h 961"/>
                  <a:gd name="T114" fmla="*/ 26 w 1806"/>
                  <a:gd name="T115" fmla="*/ 961 h 961"/>
                  <a:gd name="T116" fmla="*/ 1780 w 1806"/>
                  <a:gd name="T117" fmla="*/ 961 h 961"/>
                  <a:gd name="T118" fmla="*/ 1801 w 1806"/>
                  <a:gd name="T119" fmla="*/ 93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6" h="961">
                    <a:moveTo>
                      <a:pt x="477" y="24"/>
                    </a:moveTo>
                    <a:cubicBezTo>
                      <a:pt x="484" y="43"/>
                      <a:pt x="498" y="65"/>
                      <a:pt x="523" y="77"/>
                    </a:cubicBezTo>
                    <a:cubicBezTo>
                      <a:pt x="528" y="80"/>
                      <a:pt x="531" y="84"/>
                      <a:pt x="533" y="89"/>
                    </a:cubicBezTo>
                    <a:cubicBezTo>
                      <a:pt x="574" y="192"/>
                      <a:pt x="648" y="365"/>
                      <a:pt x="677" y="391"/>
                    </a:cubicBezTo>
                    <a:cubicBezTo>
                      <a:pt x="722" y="430"/>
                      <a:pt x="838" y="504"/>
                      <a:pt x="903" y="504"/>
                    </a:cubicBezTo>
                    <a:cubicBezTo>
                      <a:pt x="967" y="504"/>
                      <a:pt x="1084" y="430"/>
                      <a:pt x="1129" y="391"/>
                    </a:cubicBezTo>
                    <a:cubicBezTo>
                      <a:pt x="1157" y="365"/>
                      <a:pt x="1232" y="192"/>
                      <a:pt x="1272" y="89"/>
                    </a:cubicBezTo>
                    <a:cubicBezTo>
                      <a:pt x="1274" y="84"/>
                      <a:pt x="1278" y="80"/>
                      <a:pt x="1283" y="77"/>
                    </a:cubicBezTo>
                    <a:cubicBezTo>
                      <a:pt x="1308" y="65"/>
                      <a:pt x="1322" y="44"/>
                      <a:pt x="1329" y="24"/>
                    </a:cubicBezTo>
                    <a:cubicBezTo>
                      <a:pt x="1380" y="0"/>
                      <a:pt x="1380" y="0"/>
                      <a:pt x="1380" y="0"/>
                    </a:cubicBezTo>
                    <a:cubicBezTo>
                      <a:pt x="1380" y="1"/>
                      <a:pt x="1380" y="2"/>
                      <a:pt x="1380" y="3"/>
                    </a:cubicBezTo>
                    <a:cubicBezTo>
                      <a:pt x="1376" y="26"/>
                      <a:pt x="1363" y="82"/>
                      <a:pt x="1310" y="112"/>
                    </a:cubicBezTo>
                    <a:cubicBezTo>
                      <a:pt x="1288" y="168"/>
                      <a:pt x="1212" y="358"/>
                      <a:pt x="1167" y="414"/>
                    </a:cubicBezTo>
                    <a:cubicBezTo>
                      <a:pt x="1167" y="510"/>
                      <a:pt x="1167" y="510"/>
                      <a:pt x="1167" y="510"/>
                    </a:cubicBezTo>
                    <a:cubicBezTo>
                      <a:pt x="1123" y="524"/>
                      <a:pt x="1123" y="524"/>
                      <a:pt x="1123" y="524"/>
                    </a:cubicBezTo>
                    <a:cubicBezTo>
                      <a:pt x="1123" y="451"/>
                      <a:pt x="1123" y="451"/>
                      <a:pt x="1123" y="451"/>
                    </a:cubicBezTo>
                    <a:cubicBezTo>
                      <a:pt x="1064" y="494"/>
                      <a:pt x="968" y="548"/>
                      <a:pt x="903" y="548"/>
                    </a:cubicBezTo>
                    <a:cubicBezTo>
                      <a:pt x="838" y="548"/>
                      <a:pt x="742" y="494"/>
                      <a:pt x="683" y="452"/>
                    </a:cubicBezTo>
                    <a:cubicBezTo>
                      <a:pt x="683" y="524"/>
                      <a:pt x="683" y="524"/>
                      <a:pt x="683" y="524"/>
                    </a:cubicBezTo>
                    <a:cubicBezTo>
                      <a:pt x="639" y="510"/>
                      <a:pt x="639" y="510"/>
                      <a:pt x="639" y="510"/>
                    </a:cubicBezTo>
                    <a:cubicBezTo>
                      <a:pt x="639" y="414"/>
                      <a:pt x="639" y="414"/>
                      <a:pt x="639" y="414"/>
                    </a:cubicBezTo>
                    <a:cubicBezTo>
                      <a:pt x="594" y="359"/>
                      <a:pt x="517" y="168"/>
                      <a:pt x="495" y="112"/>
                    </a:cubicBezTo>
                    <a:cubicBezTo>
                      <a:pt x="446" y="83"/>
                      <a:pt x="431" y="33"/>
                      <a:pt x="426" y="5"/>
                    </a:cubicBezTo>
                    <a:cubicBezTo>
                      <a:pt x="426" y="4"/>
                      <a:pt x="426" y="2"/>
                      <a:pt x="426" y="0"/>
                    </a:cubicBezTo>
                    <a:lnTo>
                      <a:pt x="477" y="24"/>
                    </a:lnTo>
                    <a:close/>
                    <a:moveTo>
                      <a:pt x="887" y="757"/>
                    </a:moveTo>
                    <a:cubicBezTo>
                      <a:pt x="892" y="755"/>
                      <a:pt x="897" y="754"/>
                      <a:pt x="903" y="754"/>
                    </a:cubicBezTo>
                    <a:cubicBezTo>
                      <a:pt x="909" y="754"/>
                      <a:pt x="914" y="755"/>
                      <a:pt x="919" y="757"/>
                    </a:cubicBezTo>
                    <a:cubicBezTo>
                      <a:pt x="1016" y="679"/>
                      <a:pt x="1016" y="679"/>
                      <a:pt x="1016" y="679"/>
                    </a:cubicBezTo>
                    <a:cubicBezTo>
                      <a:pt x="1009" y="679"/>
                      <a:pt x="1001" y="679"/>
                      <a:pt x="993" y="679"/>
                    </a:cubicBezTo>
                    <a:cubicBezTo>
                      <a:pt x="966" y="679"/>
                      <a:pt x="938" y="681"/>
                      <a:pt x="908" y="684"/>
                    </a:cubicBezTo>
                    <a:cubicBezTo>
                      <a:pt x="898" y="684"/>
                      <a:pt x="898" y="684"/>
                      <a:pt x="898" y="684"/>
                    </a:cubicBezTo>
                    <a:cubicBezTo>
                      <a:pt x="868" y="681"/>
                      <a:pt x="840" y="679"/>
                      <a:pt x="813" y="679"/>
                    </a:cubicBezTo>
                    <a:cubicBezTo>
                      <a:pt x="805" y="679"/>
                      <a:pt x="797" y="679"/>
                      <a:pt x="790" y="679"/>
                    </a:cubicBezTo>
                    <a:lnTo>
                      <a:pt x="887" y="757"/>
                    </a:lnTo>
                    <a:close/>
                    <a:moveTo>
                      <a:pt x="1801" y="931"/>
                    </a:moveTo>
                    <a:cubicBezTo>
                      <a:pt x="1773" y="857"/>
                      <a:pt x="1693" y="664"/>
                      <a:pt x="1583" y="614"/>
                    </a:cubicBezTo>
                    <a:cubicBezTo>
                      <a:pt x="1489" y="570"/>
                      <a:pt x="1338" y="555"/>
                      <a:pt x="1255" y="550"/>
                    </a:cubicBezTo>
                    <a:cubicBezTo>
                      <a:pt x="1279" y="582"/>
                      <a:pt x="1305" y="635"/>
                      <a:pt x="1302" y="704"/>
                    </a:cubicBezTo>
                    <a:cubicBezTo>
                      <a:pt x="1300" y="732"/>
                      <a:pt x="1276" y="755"/>
                      <a:pt x="1248" y="755"/>
                    </a:cubicBezTo>
                    <a:cubicBezTo>
                      <a:pt x="1234" y="755"/>
                      <a:pt x="1220" y="749"/>
                      <a:pt x="1210" y="740"/>
                    </a:cubicBezTo>
                    <a:cubicBezTo>
                      <a:pt x="1196" y="726"/>
                      <a:pt x="1158" y="698"/>
                      <a:pt x="1080" y="685"/>
                    </a:cubicBezTo>
                    <a:cubicBezTo>
                      <a:pt x="951" y="788"/>
                      <a:pt x="951" y="788"/>
                      <a:pt x="951" y="788"/>
                    </a:cubicBezTo>
                    <a:cubicBezTo>
                      <a:pt x="953" y="793"/>
                      <a:pt x="954" y="799"/>
                      <a:pt x="954" y="805"/>
                    </a:cubicBezTo>
                    <a:cubicBezTo>
                      <a:pt x="954" y="915"/>
                      <a:pt x="954" y="915"/>
                      <a:pt x="954" y="915"/>
                    </a:cubicBezTo>
                    <a:cubicBezTo>
                      <a:pt x="903" y="915"/>
                      <a:pt x="903" y="915"/>
                      <a:pt x="903" y="915"/>
                    </a:cubicBezTo>
                    <a:cubicBezTo>
                      <a:pt x="903" y="856"/>
                      <a:pt x="903" y="856"/>
                      <a:pt x="903" y="856"/>
                    </a:cubicBezTo>
                    <a:cubicBezTo>
                      <a:pt x="875" y="856"/>
                      <a:pt x="852" y="833"/>
                      <a:pt x="852" y="805"/>
                    </a:cubicBezTo>
                    <a:cubicBezTo>
                      <a:pt x="852" y="799"/>
                      <a:pt x="853" y="793"/>
                      <a:pt x="855" y="788"/>
                    </a:cubicBezTo>
                    <a:cubicBezTo>
                      <a:pt x="726" y="685"/>
                      <a:pt x="726" y="685"/>
                      <a:pt x="726" y="685"/>
                    </a:cubicBezTo>
                    <a:cubicBezTo>
                      <a:pt x="648" y="698"/>
                      <a:pt x="610" y="726"/>
                      <a:pt x="596" y="740"/>
                    </a:cubicBezTo>
                    <a:cubicBezTo>
                      <a:pt x="586" y="749"/>
                      <a:pt x="572" y="755"/>
                      <a:pt x="558" y="755"/>
                    </a:cubicBezTo>
                    <a:cubicBezTo>
                      <a:pt x="558" y="755"/>
                      <a:pt x="558" y="755"/>
                      <a:pt x="558" y="755"/>
                    </a:cubicBezTo>
                    <a:cubicBezTo>
                      <a:pt x="530" y="755"/>
                      <a:pt x="506" y="732"/>
                      <a:pt x="504" y="704"/>
                    </a:cubicBezTo>
                    <a:cubicBezTo>
                      <a:pt x="501" y="635"/>
                      <a:pt x="527" y="582"/>
                      <a:pt x="551" y="550"/>
                    </a:cubicBezTo>
                    <a:cubicBezTo>
                      <a:pt x="468" y="555"/>
                      <a:pt x="317" y="570"/>
                      <a:pt x="223" y="614"/>
                    </a:cubicBezTo>
                    <a:cubicBezTo>
                      <a:pt x="113" y="664"/>
                      <a:pt x="33" y="857"/>
                      <a:pt x="5" y="931"/>
                    </a:cubicBezTo>
                    <a:cubicBezTo>
                      <a:pt x="0" y="945"/>
                      <a:pt x="10" y="961"/>
                      <a:pt x="26" y="961"/>
                    </a:cubicBezTo>
                    <a:cubicBezTo>
                      <a:pt x="1780" y="961"/>
                      <a:pt x="1780" y="961"/>
                      <a:pt x="1780" y="961"/>
                    </a:cubicBezTo>
                    <a:cubicBezTo>
                      <a:pt x="1796" y="961"/>
                      <a:pt x="1806" y="945"/>
                      <a:pt x="1801" y="9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6">
                <a:extLst>
                  <a:ext uri="{FF2B5EF4-FFF2-40B4-BE49-F238E27FC236}">
                    <a16:creationId xmlns:a16="http://schemas.microsoft.com/office/drawing/2014/main" id="{6D9D5702-A900-404B-BF43-FB915C5F527F}"/>
                  </a:ext>
                </a:extLst>
              </p:cNvPr>
              <p:cNvSpPr>
                <a:spLocks noEditPoints="1"/>
              </p:cNvSpPr>
              <p:nvPr/>
            </p:nvSpPr>
            <p:spPr bwMode="auto">
              <a:xfrm>
                <a:off x="5757671" y="2805303"/>
                <a:ext cx="675132" cy="1024509"/>
              </a:xfrm>
              <a:custGeom>
                <a:avLst/>
                <a:gdLst>
                  <a:gd name="T0" fmla="*/ 928 w 946"/>
                  <a:gd name="T1" fmla="*/ 647 h 1434"/>
                  <a:gd name="T2" fmla="*/ 928 w 946"/>
                  <a:gd name="T3" fmla="*/ 646 h 1434"/>
                  <a:gd name="T4" fmla="*/ 874 w 946"/>
                  <a:gd name="T5" fmla="*/ 722 h 1434"/>
                  <a:gd name="T6" fmla="*/ 840 w 946"/>
                  <a:gd name="T7" fmla="*/ 722 h 1434"/>
                  <a:gd name="T8" fmla="*/ 835 w 946"/>
                  <a:gd name="T9" fmla="*/ 366 h 1434"/>
                  <a:gd name="T10" fmla="*/ 214 w 946"/>
                  <a:gd name="T11" fmla="*/ 388 h 1434"/>
                  <a:gd name="T12" fmla="*/ 98 w 946"/>
                  <a:gd name="T13" fmla="*/ 716 h 1434"/>
                  <a:gd name="T14" fmla="*/ 67 w 946"/>
                  <a:gd name="T15" fmla="*/ 713 h 1434"/>
                  <a:gd name="T16" fmla="*/ 20 w 946"/>
                  <a:gd name="T17" fmla="*/ 653 h 1434"/>
                  <a:gd name="T18" fmla="*/ 20 w 946"/>
                  <a:gd name="T19" fmla="*/ 652 h 1434"/>
                  <a:gd name="T20" fmla="*/ 1 w 946"/>
                  <a:gd name="T21" fmla="*/ 483 h 1434"/>
                  <a:gd name="T22" fmla="*/ 473 w 946"/>
                  <a:gd name="T23" fmla="*/ 0 h 1434"/>
                  <a:gd name="T24" fmla="*/ 945 w 946"/>
                  <a:gd name="T25" fmla="*/ 483 h 1434"/>
                  <a:gd name="T26" fmla="*/ 928 w 946"/>
                  <a:gd name="T27" fmla="*/ 647 h 1434"/>
                  <a:gd name="T28" fmla="*/ 473 w 946"/>
                  <a:gd name="T29" fmla="*/ 1360 h 1434"/>
                  <a:gd name="T30" fmla="*/ 181 w 946"/>
                  <a:gd name="T31" fmla="*/ 1268 h 1434"/>
                  <a:gd name="T32" fmla="*/ 118 w 946"/>
                  <a:gd name="T33" fmla="*/ 1421 h 1434"/>
                  <a:gd name="T34" fmla="*/ 135 w 946"/>
                  <a:gd name="T35" fmla="*/ 1428 h 1434"/>
                  <a:gd name="T36" fmla="*/ 473 w 946"/>
                  <a:gd name="T37" fmla="*/ 1360 h 1434"/>
                  <a:gd name="T38" fmla="*/ 811 w 946"/>
                  <a:gd name="T39" fmla="*/ 1428 h 1434"/>
                  <a:gd name="T40" fmla="*/ 828 w 946"/>
                  <a:gd name="T41" fmla="*/ 1421 h 1434"/>
                  <a:gd name="T42" fmla="*/ 765 w 946"/>
                  <a:gd name="T43" fmla="*/ 1268 h 1434"/>
                  <a:gd name="T44" fmla="*/ 473 w 946"/>
                  <a:gd name="T45" fmla="*/ 1360 h 1434"/>
                  <a:gd name="T46" fmla="*/ 811 w 946"/>
                  <a:gd name="T47" fmla="*/ 1428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1434">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473" y="1360"/>
                    </a:moveTo>
                    <a:cubicBezTo>
                      <a:pt x="181" y="1268"/>
                      <a:pt x="181" y="1268"/>
                      <a:pt x="181" y="1268"/>
                    </a:cubicBezTo>
                    <a:cubicBezTo>
                      <a:pt x="181" y="1268"/>
                      <a:pt x="113" y="1326"/>
                      <a:pt x="118" y="1421"/>
                    </a:cubicBezTo>
                    <a:cubicBezTo>
                      <a:pt x="119" y="1430"/>
                      <a:pt x="129" y="1434"/>
                      <a:pt x="135" y="1428"/>
                    </a:cubicBezTo>
                    <a:cubicBezTo>
                      <a:pt x="167" y="1397"/>
                      <a:pt x="258" y="1337"/>
                      <a:pt x="473" y="1360"/>
                    </a:cubicBezTo>
                    <a:close/>
                    <a:moveTo>
                      <a:pt x="811" y="1428"/>
                    </a:moveTo>
                    <a:cubicBezTo>
                      <a:pt x="817" y="1434"/>
                      <a:pt x="827" y="1430"/>
                      <a:pt x="828" y="1421"/>
                    </a:cubicBezTo>
                    <a:cubicBezTo>
                      <a:pt x="833" y="1326"/>
                      <a:pt x="765" y="1268"/>
                      <a:pt x="765" y="1268"/>
                    </a:cubicBezTo>
                    <a:cubicBezTo>
                      <a:pt x="473" y="1360"/>
                      <a:pt x="473" y="1360"/>
                      <a:pt x="473" y="1360"/>
                    </a:cubicBezTo>
                    <a:cubicBezTo>
                      <a:pt x="688" y="1337"/>
                      <a:pt x="779" y="1397"/>
                      <a:pt x="811" y="14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0" name="Group 29"/>
          <p:cNvGrpSpPr>
            <a:grpSpLocks noChangeAspect="1"/>
          </p:cNvGrpSpPr>
          <p:nvPr/>
        </p:nvGrpSpPr>
        <p:grpSpPr>
          <a:xfrm>
            <a:off x="3228101" y="1790441"/>
            <a:ext cx="476323" cy="476765"/>
            <a:chOff x="5273801" y="2606040"/>
            <a:chExt cx="1644396" cy="1645920"/>
          </a:xfrm>
        </p:grpSpPr>
        <p:sp>
          <p:nvSpPr>
            <p:cNvPr id="31" name="AutoShape 23">
              <a:extLst>
                <a:ext uri="{FF2B5EF4-FFF2-40B4-BE49-F238E27FC236}">
                  <a16:creationId xmlns:a16="http://schemas.microsoft.com/office/drawing/2014/main" id="{3B51CA84-BC38-422B-8ADA-5C0D31122932}"/>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2" name="Group 31"/>
            <p:cNvGrpSpPr/>
            <p:nvPr/>
          </p:nvGrpSpPr>
          <p:grpSpPr>
            <a:xfrm>
              <a:off x="5450966" y="2805303"/>
              <a:ext cx="1288923" cy="1200912"/>
              <a:chOff x="5450966" y="2805303"/>
              <a:chExt cx="1288923" cy="1200912"/>
            </a:xfrm>
          </p:grpSpPr>
          <p:sp>
            <p:nvSpPr>
              <p:cNvPr id="33" name="Freeform 25">
                <a:extLst>
                  <a:ext uri="{FF2B5EF4-FFF2-40B4-BE49-F238E27FC236}">
                    <a16:creationId xmlns:a16="http://schemas.microsoft.com/office/drawing/2014/main" id="{E9905D5D-B4F3-402C-A5B3-BEE51804C009}"/>
                  </a:ext>
                </a:extLst>
              </p:cNvPr>
              <p:cNvSpPr>
                <a:spLocks noEditPoints="1"/>
              </p:cNvSpPr>
              <p:nvPr/>
            </p:nvSpPr>
            <p:spPr bwMode="auto">
              <a:xfrm>
                <a:off x="5450966" y="3319653"/>
                <a:ext cx="1288923" cy="686562"/>
              </a:xfrm>
              <a:custGeom>
                <a:avLst/>
                <a:gdLst>
                  <a:gd name="T0" fmla="*/ 477 w 1806"/>
                  <a:gd name="T1" fmla="*/ 24 h 961"/>
                  <a:gd name="T2" fmla="*/ 523 w 1806"/>
                  <a:gd name="T3" fmla="*/ 77 h 961"/>
                  <a:gd name="T4" fmla="*/ 533 w 1806"/>
                  <a:gd name="T5" fmla="*/ 89 h 961"/>
                  <a:gd name="T6" fmla="*/ 677 w 1806"/>
                  <a:gd name="T7" fmla="*/ 391 h 961"/>
                  <a:gd name="T8" fmla="*/ 903 w 1806"/>
                  <a:gd name="T9" fmla="*/ 504 h 961"/>
                  <a:gd name="T10" fmla="*/ 1129 w 1806"/>
                  <a:gd name="T11" fmla="*/ 391 h 961"/>
                  <a:gd name="T12" fmla="*/ 1272 w 1806"/>
                  <a:gd name="T13" fmla="*/ 89 h 961"/>
                  <a:gd name="T14" fmla="*/ 1283 w 1806"/>
                  <a:gd name="T15" fmla="*/ 77 h 961"/>
                  <a:gd name="T16" fmla="*/ 1329 w 1806"/>
                  <a:gd name="T17" fmla="*/ 24 h 961"/>
                  <a:gd name="T18" fmla="*/ 1380 w 1806"/>
                  <a:gd name="T19" fmla="*/ 0 h 961"/>
                  <a:gd name="T20" fmla="*/ 1380 w 1806"/>
                  <a:gd name="T21" fmla="*/ 3 h 961"/>
                  <a:gd name="T22" fmla="*/ 1310 w 1806"/>
                  <a:gd name="T23" fmla="*/ 112 h 961"/>
                  <a:gd name="T24" fmla="*/ 1167 w 1806"/>
                  <a:gd name="T25" fmla="*/ 414 h 961"/>
                  <a:gd name="T26" fmla="*/ 1167 w 1806"/>
                  <a:gd name="T27" fmla="*/ 510 h 961"/>
                  <a:gd name="T28" fmla="*/ 1123 w 1806"/>
                  <a:gd name="T29" fmla="*/ 524 h 961"/>
                  <a:gd name="T30" fmla="*/ 1123 w 1806"/>
                  <a:gd name="T31" fmla="*/ 451 h 961"/>
                  <a:gd name="T32" fmla="*/ 903 w 1806"/>
                  <a:gd name="T33" fmla="*/ 548 h 961"/>
                  <a:gd name="T34" fmla="*/ 683 w 1806"/>
                  <a:gd name="T35" fmla="*/ 452 h 961"/>
                  <a:gd name="T36" fmla="*/ 683 w 1806"/>
                  <a:gd name="T37" fmla="*/ 524 h 961"/>
                  <a:gd name="T38" fmla="*/ 639 w 1806"/>
                  <a:gd name="T39" fmla="*/ 510 h 961"/>
                  <a:gd name="T40" fmla="*/ 639 w 1806"/>
                  <a:gd name="T41" fmla="*/ 414 h 961"/>
                  <a:gd name="T42" fmla="*/ 495 w 1806"/>
                  <a:gd name="T43" fmla="*/ 112 h 961"/>
                  <a:gd name="T44" fmla="*/ 426 w 1806"/>
                  <a:gd name="T45" fmla="*/ 5 h 961"/>
                  <a:gd name="T46" fmla="*/ 426 w 1806"/>
                  <a:gd name="T47" fmla="*/ 0 h 961"/>
                  <a:gd name="T48" fmla="*/ 477 w 1806"/>
                  <a:gd name="T49" fmla="*/ 24 h 961"/>
                  <a:gd name="T50" fmla="*/ 887 w 1806"/>
                  <a:gd name="T51" fmla="*/ 757 h 961"/>
                  <a:gd name="T52" fmla="*/ 903 w 1806"/>
                  <a:gd name="T53" fmla="*/ 754 h 961"/>
                  <a:gd name="T54" fmla="*/ 919 w 1806"/>
                  <a:gd name="T55" fmla="*/ 757 h 961"/>
                  <a:gd name="T56" fmla="*/ 1016 w 1806"/>
                  <a:gd name="T57" fmla="*/ 679 h 961"/>
                  <a:gd name="T58" fmla="*/ 993 w 1806"/>
                  <a:gd name="T59" fmla="*/ 679 h 961"/>
                  <a:gd name="T60" fmla="*/ 908 w 1806"/>
                  <a:gd name="T61" fmla="*/ 684 h 961"/>
                  <a:gd name="T62" fmla="*/ 898 w 1806"/>
                  <a:gd name="T63" fmla="*/ 684 h 961"/>
                  <a:gd name="T64" fmla="*/ 813 w 1806"/>
                  <a:gd name="T65" fmla="*/ 679 h 961"/>
                  <a:gd name="T66" fmla="*/ 790 w 1806"/>
                  <a:gd name="T67" fmla="*/ 679 h 961"/>
                  <a:gd name="T68" fmla="*/ 887 w 1806"/>
                  <a:gd name="T69" fmla="*/ 757 h 961"/>
                  <a:gd name="T70" fmla="*/ 1801 w 1806"/>
                  <a:gd name="T71" fmla="*/ 931 h 961"/>
                  <a:gd name="T72" fmla="*/ 1583 w 1806"/>
                  <a:gd name="T73" fmla="*/ 614 h 961"/>
                  <a:gd name="T74" fmla="*/ 1255 w 1806"/>
                  <a:gd name="T75" fmla="*/ 550 h 961"/>
                  <a:gd name="T76" fmla="*/ 1302 w 1806"/>
                  <a:gd name="T77" fmla="*/ 704 h 961"/>
                  <a:gd name="T78" fmla="*/ 1248 w 1806"/>
                  <a:gd name="T79" fmla="*/ 755 h 961"/>
                  <a:gd name="T80" fmla="*/ 1210 w 1806"/>
                  <a:gd name="T81" fmla="*/ 740 h 961"/>
                  <a:gd name="T82" fmla="*/ 1080 w 1806"/>
                  <a:gd name="T83" fmla="*/ 685 h 961"/>
                  <a:gd name="T84" fmla="*/ 951 w 1806"/>
                  <a:gd name="T85" fmla="*/ 788 h 961"/>
                  <a:gd name="T86" fmla="*/ 954 w 1806"/>
                  <a:gd name="T87" fmla="*/ 805 h 961"/>
                  <a:gd name="T88" fmla="*/ 954 w 1806"/>
                  <a:gd name="T89" fmla="*/ 915 h 961"/>
                  <a:gd name="T90" fmla="*/ 903 w 1806"/>
                  <a:gd name="T91" fmla="*/ 915 h 961"/>
                  <a:gd name="T92" fmla="*/ 903 w 1806"/>
                  <a:gd name="T93" fmla="*/ 856 h 961"/>
                  <a:gd name="T94" fmla="*/ 852 w 1806"/>
                  <a:gd name="T95" fmla="*/ 805 h 961"/>
                  <a:gd name="T96" fmla="*/ 855 w 1806"/>
                  <a:gd name="T97" fmla="*/ 788 h 961"/>
                  <a:gd name="T98" fmla="*/ 726 w 1806"/>
                  <a:gd name="T99" fmla="*/ 685 h 961"/>
                  <a:gd name="T100" fmla="*/ 596 w 1806"/>
                  <a:gd name="T101" fmla="*/ 740 h 961"/>
                  <a:gd name="T102" fmla="*/ 558 w 1806"/>
                  <a:gd name="T103" fmla="*/ 755 h 961"/>
                  <a:gd name="T104" fmla="*/ 558 w 1806"/>
                  <a:gd name="T105" fmla="*/ 755 h 961"/>
                  <a:gd name="T106" fmla="*/ 504 w 1806"/>
                  <a:gd name="T107" fmla="*/ 704 h 961"/>
                  <a:gd name="T108" fmla="*/ 551 w 1806"/>
                  <a:gd name="T109" fmla="*/ 550 h 961"/>
                  <a:gd name="T110" fmla="*/ 223 w 1806"/>
                  <a:gd name="T111" fmla="*/ 614 h 961"/>
                  <a:gd name="T112" fmla="*/ 5 w 1806"/>
                  <a:gd name="T113" fmla="*/ 931 h 961"/>
                  <a:gd name="T114" fmla="*/ 26 w 1806"/>
                  <a:gd name="T115" fmla="*/ 961 h 961"/>
                  <a:gd name="T116" fmla="*/ 1780 w 1806"/>
                  <a:gd name="T117" fmla="*/ 961 h 961"/>
                  <a:gd name="T118" fmla="*/ 1801 w 1806"/>
                  <a:gd name="T119" fmla="*/ 93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6" h="961">
                    <a:moveTo>
                      <a:pt x="477" y="24"/>
                    </a:moveTo>
                    <a:cubicBezTo>
                      <a:pt x="484" y="43"/>
                      <a:pt x="498" y="65"/>
                      <a:pt x="523" y="77"/>
                    </a:cubicBezTo>
                    <a:cubicBezTo>
                      <a:pt x="528" y="80"/>
                      <a:pt x="531" y="84"/>
                      <a:pt x="533" y="89"/>
                    </a:cubicBezTo>
                    <a:cubicBezTo>
                      <a:pt x="574" y="192"/>
                      <a:pt x="648" y="365"/>
                      <a:pt x="677" y="391"/>
                    </a:cubicBezTo>
                    <a:cubicBezTo>
                      <a:pt x="722" y="430"/>
                      <a:pt x="838" y="504"/>
                      <a:pt x="903" y="504"/>
                    </a:cubicBezTo>
                    <a:cubicBezTo>
                      <a:pt x="967" y="504"/>
                      <a:pt x="1084" y="430"/>
                      <a:pt x="1129" y="391"/>
                    </a:cubicBezTo>
                    <a:cubicBezTo>
                      <a:pt x="1157" y="365"/>
                      <a:pt x="1232" y="192"/>
                      <a:pt x="1272" y="89"/>
                    </a:cubicBezTo>
                    <a:cubicBezTo>
                      <a:pt x="1274" y="84"/>
                      <a:pt x="1278" y="80"/>
                      <a:pt x="1283" y="77"/>
                    </a:cubicBezTo>
                    <a:cubicBezTo>
                      <a:pt x="1308" y="65"/>
                      <a:pt x="1322" y="44"/>
                      <a:pt x="1329" y="24"/>
                    </a:cubicBezTo>
                    <a:cubicBezTo>
                      <a:pt x="1380" y="0"/>
                      <a:pt x="1380" y="0"/>
                      <a:pt x="1380" y="0"/>
                    </a:cubicBezTo>
                    <a:cubicBezTo>
                      <a:pt x="1380" y="1"/>
                      <a:pt x="1380" y="2"/>
                      <a:pt x="1380" y="3"/>
                    </a:cubicBezTo>
                    <a:cubicBezTo>
                      <a:pt x="1376" y="26"/>
                      <a:pt x="1363" y="82"/>
                      <a:pt x="1310" y="112"/>
                    </a:cubicBezTo>
                    <a:cubicBezTo>
                      <a:pt x="1288" y="168"/>
                      <a:pt x="1212" y="358"/>
                      <a:pt x="1167" y="414"/>
                    </a:cubicBezTo>
                    <a:cubicBezTo>
                      <a:pt x="1167" y="510"/>
                      <a:pt x="1167" y="510"/>
                      <a:pt x="1167" y="510"/>
                    </a:cubicBezTo>
                    <a:cubicBezTo>
                      <a:pt x="1123" y="524"/>
                      <a:pt x="1123" y="524"/>
                      <a:pt x="1123" y="524"/>
                    </a:cubicBezTo>
                    <a:cubicBezTo>
                      <a:pt x="1123" y="451"/>
                      <a:pt x="1123" y="451"/>
                      <a:pt x="1123" y="451"/>
                    </a:cubicBezTo>
                    <a:cubicBezTo>
                      <a:pt x="1064" y="494"/>
                      <a:pt x="968" y="548"/>
                      <a:pt x="903" y="548"/>
                    </a:cubicBezTo>
                    <a:cubicBezTo>
                      <a:pt x="838" y="548"/>
                      <a:pt x="742" y="494"/>
                      <a:pt x="683" y="452"/>
                    </a:cubicBezTo>
                    <a:cubicBezTo>
                      <a:pt x="683" y="524"/>
                      <a:pt x="683" y="524"/>
                      <a:pt x="683" y="524"/>
                    </a:cubicBezTo>
                    <a:cubicBezTo>
                      <a:pt x="639" y="510"/>
                      <a:pt x="639" y="510"/>
                      <a:pt x="639" y="510"/>
                    </a:cubicBezTo>
                    <a:cubicBezTo>
                      <a:pt x="639" y="414"/>
                      <a:pt x="639" y="414"/>
                      <a:pt x="639" y="414"/>
                    </a:cubicBezTo>
                    <a:cubicBezTo>
                      <a:pt x="594" y="359"/>
                      <a:pt x="517" y="168"/>
                      <a:pt x="495" y="112"/>
                    </a:cubicBezTo>
                    <a:cubicBezTo>
                      <a:pt x="446" y="83"/>
                      <a:pt x="431" y="33"/>
                      <a:pt x="426" y="5"/>
                    </a:cubicBezTo>
                    <a:cubicBezTo>
                      <a:pt x="426" y="4"/>
                      <a:pt x="426" y="2"/>
                      <a:pt x="426" y="0"/>
                    </a:cubicBezTo>
                    <a:lnTo>
                      <a:pt x="477" y="24"/>
                    </a:lnTo>
                    <a:close/>
                    <a:moveTo>
                      <a:pt x="887" y="757"/>
                    </a:moveTo>
                    <a:cubicBezTo>
                      <a:pt x="892" y="755"/>
                      <a:pt x="897" y="754"/>
                      <a:pt x="903" y="754"/>
                    </a:cubicBezTo>
                    <a:cubicBezTo>
                      <a:pt x="909" y="754"/>
                      <a:pt x="914" y="755"/>
                      <a:pt x="919" y="757"/>
                    </a:cubicBezTo>
                    <a:cubicBezTo>
                      <a:pt x="1016" y="679"/>
                      <a:pt x="1016" y="679"/>
                      <a:pt x="1016" y="679"/>
                    </a:cubicBezTo>
                    <a:cubicBezTo>
                      <a:pt x="1009" y="679"/>
                      <a:pt x="1001" y="679"/>
                      <a:pt x="993" y="679"/>
                    </a:cubicBezTo>
                    <a:cubicBezTo>
                      <a:pt x="966" y="679"/>
                      <a:pt x="938" y="681"/>
                      <a:pt x="908" y="684"/>
                    </a:cubicBezTo>
                    <a:cubicBezTo>
                      <a:pt x="898" y="684"/>
                      <a:pt x="898" y="684"/>
                      <a:pt x="898" y="684"/>
                    </a:cubicBezTo>
                    <a:cubicBezTo>
                      <a:pt x="868" y="681"/>
                      <a:pt x="840" y="679"/>
                      <a:pt x="813" y="679"/>
                    </a:cubicBezTo>
                    <a:cubicBezTo>
                      <a:pt x="805" y="679"/>
                      <a:pt x="797" y="679"/>
                      <a:pt x="790" y="679"/>
                    </a:cubicBezTo>
                    <a:lnTo>
                      <a:pt x="887" y="757"/>
                    </a:lnTo>
                    <a:close/>
                    <a:moveTo>
                      <a:pt x="1801" y="931"/>
                    </a:moveTo>
                    <a:cubicBezTo>
                      <a:pt x="1773" y="857"/>
                      <a:pt x="1693" y="664"/>
                      <a:pt x="1583" y="614"/>
                    </a:cubicBezTo>
                    <a:cubicBezTo>
                      <a:pt x="1489" y="570"/>
                      <a:pt x="1338" y="555"/>
                      <a:pt x="1255" y="550"/>
                    </a:cubicBezTo>
                    <a:cubicBezTo>
                      <a:pt x="1279" y="582"/>
                      <a:pt x="1305" y="635"/>
                      <a:pt x="1302" y="704"/>
                    </a:cubicBezTo>
                    <a:cubicBezTo>
                      <a:pt x="1300" y="732"/>
                      <a:pt x="1276" y="755"/>
                      <a:pt x="1248" y="755"/>
                    </a:cubicBezTo>
                    <a:cubicBezTo>
                      <a:pt x="1234" y="755"/>
                      <a:pt x="1220" y="749"/>
                      <a:pt x="1210" y="740"/>
                    </a:cubicBezTo>
                    <a:cubicBezTo>
                      <a:pt x="1196" y="726"/>
                      <a:pt x="1158" y="698"/>
                      <a:pt x="1080" y="685"/>
                    </a:cubicBezTo>
                    <a:cubicBezTo>
                      <a:pt x="951" y="788"/>
                      <a:pt x="951" y="788"/>
                      <a:pt x="951" y="788"/>
                    </a:cubicBezTo>
                    <a:cubicBezTo>
                      <a:pt x="953" y="793"/>
                      <a:pt x="954" y="799"/>
                      <a:pt x="954" y="805"/>
                    </a:cubicBezTo>
                    <a:cubicBezTo>
                      <a:pt x="954" y="915"/>
                      <a:pt x="954" y="915"/>
                      <a:pt x="954" y="915"/>
                    </a:cubicBezTo>
                    <a:cubicBezTo>
                      <a:pt x="903" y="915"/>
                      <a:pt x="903" y="915"/>
                      <a:pt x="903" y="915"/>
                    </a:cubicBezTo>
                    <a:cubicBezTo>
                      <a:pt x="903" y="856"/>
                      <a:pt x="903" y="856"/>
                      <a:pt x="903" y="856"/>
                    </a:cubicBezTo>
                    <a:cubicBezTo>
                      <a:pt x="875" y="856"/>
                      <a:pt x="852" y="833"/>
                      <a:pt x="852" y="805"/>
                    </a:cubicBezTo>
                    <a:cubicBezTo>
                      <a:pt x="852" y="799"/>
                      <a:pt x="853" y="793"/>
                      <a:pt x="855" y="788"/>
                    </a:cubicBezTo>
                    <a:cubicBezTo>
                      <a:pt x="726" y="685"/>
                      <a:pt x="726" y="685"/>
                      <a:pt x="726" y="685"/>
                    </a:cubicBezTo>
                    <a:cubicBezTo>
                      <a:pt x="648" y="698"/>
                      <a:pt x="610" y="726"/>
                      <a:pt x="596" y="740"/>
                    </a:cubicBezTo>
                    <a:cubicBezTo>
                      <a:pt x="586" y="749"/>
                      <a:pt x="572" y="755"/>
                      <a:pt x="558" y="755"/>
                    </a:cubicBezTo>
                    <a:cubicBezTo>
                      <a:pt x="558" y="755"/>
                      <a:pt x="558" y="755"/>
                      <a:pt x="558" y="755"/>
                    </a:cubicBezTo>
                    <a:cubicBezTo>
                      <a:pt x="530" y="755"/>
                      <a:pt x="506" y="732"/>
                      <a:pt x="504" y="704"/>
                    </a:cubicBezTo>
                    <a:cubicBezTo>
                      <a:pt x="501" y="635"/>
                      <a:pt x="527" y="582"/>
                      <a:pt x="551" y="550"/>
                    </a:cubicBezTo>
                    <a:cubicBezTo>
                      <a:pt x="468" y="555"/>
                      <a:pt x="317" y="570"/>
                      <a:pt x="223" y="614"/>
                    </a:cubicBezTo>
                    <a:cubicBezTo>
                      <a:pt x="113" y="664"/>
                      <a:pt x="33" y="857"/>
                      <a:pt x="5" y="931"/>
                    </a:cubicBezTo>
                    <a:cubicBezTo>
                      <a:pt x="0" y="945"/>
                      <a:pt x="10" y="961"/>
                      <a:pt x="26" y="961"/>
                    </a:cubicBezTo>
                    <a:cubicBezTo>
                      <a:pt x="1780" y="961"/>
                      <a:pt x="1780" y="961"/>
                      <a:pt x="1780" y="961"/>
                    </a:cubicBezTo>
                    <a:cubicBezTo>
                      <a:pt x="1796" y="961"/>
                      <a:pt x="1806" y="945"/>
                      <a:pt x="1801" y="9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
                <a:extLst>
                  <a:ext uri="{FF2B5EF4-FFF2-40B4-BE49-F238E27FC236}">
                    <a16:creationId xmlns:a16="http://schemas.microsoft.com/office/drawing/2014/main" id="{6D9D5702-A900-404B-BF43-FB915C5F527F}"/>
                  </a:ext>
                </a:extLst>
              </p:cNvPr>
              <p:cNvSpPr>
                <a:spLocks noEditPoints="1"/>
              </p:cNvSpPr>
              <p:nvPr/>
            </p:nvSpPr>
            <p:spPr bwMode="auto">
              <a:xfrm>
                <a:off x="5757671" y="2805303"/>
                <a:ext cx="675132" cy="1024509"/>
              </a:xfrm>
              <a:custGeom>
                <a:avLst/>
                <a:gdLst>
                  <a:gd name="T0" fmla="*/ 928 w 946"/>
                  <a:gd name="T1" fmla="*/ 647 h 1434"/>
                  <a:gd name="T2" fmla="*/ 928 w 946"/>
                  <a:gd name="T3" fmla="*/ 646 h 1434"/>
                  <a:gd name="T4" fmla="*/ 874 w 946"/>
                  <a:gd name="T5" fmla="*/ 722 h 1434"/>
                  <a:gd name="T6" fmla="*/ 840 w 946"/>
                  <a:gd name="T7" fmla="*/ 722 h 1434"/>
                  <a:gd name="T8" fmla="*/ 835 w 946"/>
                  <a:gd name="T9" fmla="*/ 366 h 1434"/>
                  <a:gd name="T10" fmla="*/ 214 w 946"/>
                  <a:gd name="T11" fmla="*/ 388 h 1434"/>
                  <a:gd name="T12" fmla="*/ 98 w 946"/>
                  <a:gd name="T13" fmla="*/ 716 h 1434"/>
                  <a:gd name="T14" fmla="*/ 67 w 946"/>
                  <a:gd name="T15" fmla="*/ 713 h 1434"/>
                  <a:gd name="T16" fmla="*/ 20 w 946"/>
                  <a:gd name="T17" fmla="*/ 653 h 1434"/>
                  <a:gd name="T18" fmla="*/ 20 w 946"/>
                  <a:gd name="T19" fmla="*/ 652 h 1434"/>
                  <a:gd name="T20" fmla="*/ 1 w 946"/>
                  <a:gd name="T21" fmla="*/ 483 h 1434"/>
                  <a:gd name="T22" fmla="*/ 473 w 946"/>
                  <a:gd name="T23" fmla="*/ 0 h 1434"/>
                  <a:gd name="T24" fmla="*/ 945 w 946"/>
                  <a:gd name="T25" fmla="*/ 483 h 1434"/>
                  <a:gd name="T26" fmla="*/ 928 w 946"/>
                  <a:gd name="T27" fmla="*/ 647 h 1434"/>
                  <a:gd name="T28" fmla="*/ 473 w 946"/>
                  <a:gd name="T29" fmla="*/ 1360 h 1434"/>
                  <a:gd name="T30" fmla="*/ 181 w 946"/>
                  <a:gd name="T31" fmla="*/ 1268 h 1434"/>
                  <a:gd name="T32" fmla="*/ 118 w 946"/>
                  <a:gd name="T33" fmla="*/ 1421 h 1434"/>
                  <a:gd name="T34" fmla="*/ 135 w 946"/>
                  <a:gd name="T35" fmla="*/ 1428 h 1434"/>
                  <a:gd name="T36" fmla="*/ 473 w 946"/>
                  <a:gd name="T37" fmla="*/ 1360 h 1434"/>
                  <a:gd name="T38" fmla="*/ 811 w 946"/>
                  <a:gd name="T39" fmla="*/ 1428 h 1434"/>
                  <a:gd name="T40" fmla="*/ 828 w 946"/>
                  <a:gd name="T41" fmla="*/ 1421 h 1434"/>
                  <a:gd name="T42" fmla="*/ 765 w 946"/>
                  <a:gd name="T43" fmla="*/ 1268 h 1434"/>
                  <a:gd name="T44" fmla="*/ 473 w 946"/>
                  <a:gd name="T45" fmla="*/ 1360 h 1434"/>
                  <a:gd name="T46" fmla="*/ 811 w 946"/>
                  <a:gd name="T47" fmla="*/ 1428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1434">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473" y="1360"/>
                    </a:moveTo>
                    <a:cubicBezTo>
                      <a:pt x="181" y="1268"/>
                      <a:pt x="181" y="1268"/>
                      <a:pt x="181" y="1268"/>
                    </a:cubicBezTo>
                    <a:cubicBezTo>
                      <a:pt x="181" y="1268"/>
                      <a:pt x="113" y="1326"/>
                      <a:pt x="118" y="1421"/>
                    </a:cubicBezTo>
                    <a:cubicBezTo>
                      <a:pt x="119" y="1430"/>
                      <a:pt x="129" y="1434"/>
                      <a:pt x="135" y="1428"/>
                    </a:cubicBezTo>
                    <a:cubicBezTo>
                      <a:pt x="167" y="1397"/>
                      <a:pt x="258" y="1337"/>
                      <a:pt x="473" y="1360"/>
                    </a:cubicBezTo>
                    <a:close/>
                    <a:moveTo>
                      <a:pt x="811" y="1428"/>
                    </a:moveTo>
                    <a:cubicBezTo>
                      <a:pt x="817" y="1434"/>
                      <a:pt x="827" y="1430"/>
                      <a:pt x="828" y="1421"/>
                    </a:cubicBezTo>
                    <a:cubicBezTo>
                      <a:pt x="833" y="1326"/>
                      <a:pt x="765" y="1268"/>
                      <a:pt x="765" y="1268"/>
                    </a:cubicBezTo>
                    <a:cubicBezTo>
                      <a:pt x="473" y="1360"/>
                      <a:pt x="473" y="1360"/>
                      <a:pt x="473" y="1360"/>
                    </a:cubicBezTo>
                    <a:cubicBezTo>
                      <a:pt x="688" y="1337"/>
                      <a:pt x="779" y="1397"/>
                      <a:pt x="811" y="14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5" name="Group 34"/>
          <p:cNvGrpSpPr>
            <a:grpSpLocks noChangeAspect="1"/>
          </p:cNvGrpSpPr>
          <p:nvPr/>
        </p:nvGrpSpPr>
        <p:grpSpPr>
          <a:xfrm>
            <a:off x="6096600" y="1790441"/>
            <a:ext cx="476323" cy="476765"/>
            <a:chOff x="5273801" y="2606040"/>
            <a:chExt cx="1644396" cy="1645920"/>
          </a:xfrm>
        </p:grpSpPr>
        <p:sp>
          <p:nvSpPr>
            <p:cNvPr id="36" name="AutoShape 23">
              <a:extLst>
                <a:ext uri="{FF2B5EF4-FFF2-40B4-BE49-F238E27FC236}">
                  <a16:creationId xmlns:a16="http://schemas.microsoft.com/office/drawing/2014/main" id="{3B51CA84-BC38-422B-8ADA-5C0D31122932}"/>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7" name="Group 36"/>
            <p:cNvGrpSpPr/>
            <p:nvPr/>
          </p:nvGrpSpPr>
          <p:grpSpPr>
            <a:xfrm>
              <a:off x="5450966" y="2805303"/>
              <a:ext cx="1288923" cy="1200912"/>
              <a:chOff x="5450966" y="2805303"/>
              <a:chExt cx="1288923" cy="1200912"/>
            </a:xfrm>
          </p:grpSpPr>
          <p:sp>
            <p:nvSpPr>
              <p:cNvPr id="38" name="Freeform 25">
                <a:extLst>
                  <a:ext uri="{FF2B5EF4-FFF2-40B4-BE49-F238E27FC236}">
                    <a16:creationId xmlns:a16="http://schemas.microsoft.com/office/drawing/2014/main" id="{E9905D5D-B4F3-402C-A5B3-BEE51804C009}"/>
                  </a:ext>
                </a:extLst>
              </p:cNvPr>
              <p:cNvSpPr>
                <a:spLocks noEditPoints="1"/>
              </p:cNvSpPr>
              <p:nvPr/>
            </p:nvSpPr>
            <p:spPr bwMode="auto">
              <a:xfrm>
                <a:off x="5450966" y="3319653"/>
                <a:ext cx="1288923" cy="686562"/>
              </a:xfrm>
              <a:custGeom>
                <a:avLst/>
                <a:gdLst>
                  <a:gd name="T0" fmla="*/ 477 w 1806"/>
                  <a:gd name="T1" fmla="*/ 24 h 961"/>
                  <a:gd name="T2" fmla="*/ 523 w 1806"/>
                  <a:gd name="T3" fmla="*/ 77 h 961"/>
                  <a:gd name="T4" fmla="*/ 533 w 1806"/>
                  <a:gd name="T5" fmla="*/ 89 h 961"/>
                  <a:gd name="T6" fmla="*/ 677 w 1806"/>
                  <a:gd name="T7" fmla="*/ 391 h 961"/>
                  <a:gd name="T8" fmla="*/ 903 w 1806"/>
                  <a:gd name="T9" fmla="*/ 504 h 961"/>
                  <a:gd name="T10" fmla="*/ 1129 w 1806"/>
                  <a:gd name="T11" fmla="*/ 391 h 961"/>
                  <a:gd name="T12" fmla="*/ 1272 w 1806"/>
                  <a:gd name="T13" fmla="*/ 89 h 961"/>
                  <a:gd name="T14" fmla="*/ 1283 w 1806"/>
                  <a:gd name="T15" fmla="*/ 77 h 961"/>
                  <a:gd name="T16" fmla="*/ 1329 w 1806"/>
                  <a:gd name="T17" fmla="*/ 24 h 961"/>
                  <a:gd name="T18" fmla="*/ 1380 w 1806"/>
                  <a:gd name="T19" fmla="*/ 0 h 961"/>
                  <a:gd name="T20" fmla="*/ 1380 w 1806"/>
                  <a:gd name="T21" fmla="*/ 3 h 961"/>
                  <a:gd name="T22" fmla="*/ 1310 w 1806"/>
                  <a:gd name="T23" fmla="*/ 112 h 961"/>
                  <a:gd name="T24" fmla="*/ 1167 w 1806"/>
                  <a:gd name="T25" fmla="*/ 414 h 961"/>
                  <a:gd name="T26" fmla="*/ 1167 w 1806"/>
                  <a:gd name="T27" fmla="*/ 510 h 961"/>
                  <a:gd name="T28" fmla="*/ 1123 w 1806"/>
                  <a:gd name="T29" fmla="*/ 524 h 961"/>
                  <a:gd name="T30" fmla="*/ 1123 w 1806"/>
                  <a:gd name="T31" fmla="*/ 451 h 961"/>
                  <a:gd name="T32" fmla="*/ 903 w 1806"/>
                  <a:gd name="T33" fmla="*/ 548 h 961"/>
                  <a:gd name="T34" fmla="*/ 683 w 1806"/>
                  <a:gd name="T35" fmla="*/ 452 h 961"/>
                  <a:gd name="T36" fmla="*/ 683 w 1806"/>
                  <a:gd name="T37" fmla="*/ 524 h 961"/>
                  <a:gd name="T38" fmla="*/ 639 w 1806"/>
                  <a:gd name="T39" fmla="*/ 510 h 961"/>
                  <a:gd name="T40" fmla="*/ 639 w 1806"/>
                  <a:gd name="T41" fmla="*/ 414 h 961"/>
                  <a:gd name="T42" fmla="*/ 495 w 1806"/>
                  <a:gd name="T43" fmla="*/ 112 h 961"/>
                  <a:gd name="T44" fmla="*/ 426 w 1806"/>
                  <a:gd name="T45" fmla="*/ 5 h 961"/>
                  <a:gd name="T46" fmla="*/ 426 w 1806"/>
                  <a:gd name="T47" fmla="*/ 0 h 961"/>
                  <a:gd name="T48" fmla="*/ 477 w 1806"/>
                  <a:gd name="T49" fmla="*/ 24 h 961"/>
                  <a:gd name="T50" fmla="*/ 887 w 1806"/>
                  <a:gd name="T51" fmla="*/ 757 h 961"/>
                  <a:gd name="T52" fmla="*/ 903 w 1806"/>
                  <a:gd name="T53" fmla="*/ 754 h 961"/>
                  <a:gd name="T54" fmla="*/ 919 w 1806"/>
                  <a:gd name="T55" fmla="*/ 757 h 961"/>
                  <a:gd name="T56" fmla="*/ 1016 w 1806"/>
                  <a:gd name="T57" fmla="*/ 679 h 961"/>
                  <a:gd name="T58" fmla="*/ 993 w 1806"/>
                  <a:gd name="T59" fmla="*/ 679 h 961"/>
                  <a:gd name="T60" fmla="*/ 908 w 1806"/>
                  <a:gd name="T61" fmla="*/ 684 h 961"/>
                  <a:gd name="T62" fmla="*/ 898 w 1806"/>
                  <a:gd name="T63" fmla="*/ 684 h 961"/>
                  <a:gd name="T64" fmla="*/ 813 w 1806"/>
                  <a:gd name="T65" fmla="*/ 679 h 961"/>
                  <a:gd name="T66" fmla="*/ 790 w 1806"/>
                  <a:gd name="T67" fmla="*/ 679 h 961"/>
                  <a:gd name="T68" fmla="*/ 887 w 1806"/>
                  <a:gd name="T69" fmla="*/ 757 h 961"/>
                  <a:gd name="T70" fmla="*/ 1801 w 1806"/>
                  <a:gd name="T71" fmla="*/ 931 h 961"/>
                  <a:gd name="T72" fmla="*/ 1583 w 1806"/>
                  <a:gd name="T73" fmla="*/ 614 h 961"/>
                  <a:gd name="T74" fmla="*/ 1255 w 1806"/>
                  <a:gd name="T75" fmla="*/ 550 h 961"/>
                  <a:gd name="T76" fmla="*/ 1302 w 1806"/>
                  <a:gd name="T77" fmla="*/ 704 h 961"/>
                  <a:gd name="T78" fmla="*/ 1248 w 1806"/>
                  <a:gd name="T79" fmla="*/ 755 h 961"/>
                  <a:gd name="T80" fmla="*/ 1210 w 1806"/>
                  <a:gd name="T81" fmla="*/ 740 h 961"/>
                  <a:gd name="T82" fmla="*/ 1080 w 1806"/>
                  <a:gd name="T83" fmla="*/ 685 h 961"/>
                  <a:gd name="T84" fmla="*/ 951 w 1806"/>
                  <a:gd name="T85" fmla="*/ 788 h 961"/>
                  <a:gd name="T86" fmla="*/ 954 w 1806"/>
                  <a:gd name="T87" fmla="*/ 805 h 961"/>
                  <a:gd name="T88" fmla="*/ 954 w 1806"/>
                  <a:gd name="T89" fmla="*/ 915 h 961"/>
                  <a:gd name="T90" fmla="*/ 903 w 1806"/>
                  <a:gd name="T91" fmla="*/ 915 h 961"/>
                  <a:gd name="T92" fmla="*/ 903 w 1806"/>
                  <a:gd name="T93" fmla="*/ 856 h 961"/>
                  <a:gd name="T94" fmla="*/ 852 w 1806"/>
                  <a:gd name="T95" fmla="*/ 805 h 961"/>
                  <a:gd name="T96" fmla="*/ 855 w 1806"/>
                  <a:gd name="T97" fmla="*/ 788 h 961"/>
                  <a:gd name="T98" fmla="*/ 726 w 1806"/>
                  <a:gd name="T99" fmla="*/ 685 h 961"/>
                  <a:gd name="T100" fmla="*/ 596 w 1806"/>
                  <a:gd name="T101" fmla="*/ 740 h 961"/>
                  <a:gd name="T102" fmla="*/ 558 w 1806"/>
                  <a:gd name="T103" fmla="*/ 755 h 961"/>
                  <a:gd name="T104" fmla="*/ 558 w 1806"/>
                  <a:gd name="T105" fmla="*/ 755 h 961"/>
                  <a:gd name="T106" fmla="*/ 504 w 1806"/>
                  <a:gd name="T107" fmla="*/ 704 h 961"/>
                  <a:gd name="T108" fmla="*/ 551 w 1806"/>
                  <a:gd name="T109" fmla="*/ 550 h 961"/>
                  <a:gd name="T110" fmla="*/ 223 w 1806"/>
                  <a:gd name="T111" fmla="*/ 614 h 961"/>
                  <a:gd name="T112" fmla="*/ 5 w 1806"/>
                  <a:gd name="T113" fmla="*/ 931 h 961"/>
                  <a:gd name="T114" fmla="*/ 26 w 1806"/>
                  <a:gd name="T115" fmla="*/ 961 h 961"/>
                  <a:gd name="T116" fmla="*/ 1780 w 1806"/>
                  <a:gd name="T117" fmla="*/ 961 h 961"/>
                  <a:gd name="T118" fmla="*/ 1801 w 1806"/>
                  <a:gd name="T119" fmla="*/ 93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6" h="961">
                    <a:moveTo>
                      <a:pt x="477" y="24"/>
                    </a:moveTo>
                    <a:cubicBezTo>
                      <a:pt x="484" y="43"/>
                      <a:pt x="498" y="65"/>
                      <a:pt x="523" y="77"/>
                    </a:cubicBezTo>
                    <a:cubicBezTo>
                      <a:pt x="528" y="80"/>
                      <a:pt x="531" y="84"/>
                      <a:pt x="533" y="89"/>
                    </a:cubicBezTo>
                    <a:cubicBezTo>
                      <a:pt x="574" y="192"/>
                      <a:pt x="648" y="365"/>
                      <a:pt x="677" y="391"/>
                    </a:cubicBezTo>
                    <a:cubicBezTo>
                      <a:pt x="722" y="430"/>
                      <a:pt x="838" y="504"/>
                      <a:pt x="903" y="504"/>
                    </a:cubicBezTo>
                    <a:cubicBezTo>
                      <a:pt x="967" y="504"/>
                      <a:pt x="1084" y="430"/>
                      <a:pt x="1129" y="391"/>
                    </a:cubicBezTo>
                    <a:cubicBezTo>
                      <a:pt x="1157" y="365"/>
                      <a:pt x="1232" y="192"/>
                      <a:pt x="1272" y="89"/>
                    </a:cubicBezTo>
                    <a:cubicBezTo>
                      <a:pt x="1274" y="84"/>
                      <a:pt x="1278" y="80"/>
                      <a:pt x="1283" y="77"/>
                    </a:cubicBezTo>
                    <a:cubicBezTo>
                      <a:pt x="1308" y="65"/>
                      <a:pt x="1322" y="44"/>
                      <a:pt x="1329" y="24"/>
                    </a:cubicBezTo>
                    <a:cubicBezTo>
                      <a:pt x="1380" y="0"/>
                      <a:pt x="1380" y="0"/>
                      <a:pt x="1380" y="0"/>
                    </a:cubicBezTo>
                    <a:cubicBezTo>
                      <a:pt x="1380" y="1"/>
                      <a:pt x="1380" y="2"/>
                      <a:pt x="1380" y="3"/>
                    </a:cubicBezTo>
                    <a:cubicBezTo>
                      <a:pt x="1376" y="26"/>
                      <a:pt x="1363" y="82"/>
                      <a:pt x="1310" y="112"/>
                    </a:cubicBezTo>
                    <a:cubicBezTo>
                      <a:pt x="1288" y="168"/>
                      <a:pt x="1212" y="358"/>
                      <a:pt x="1167" y="414"/>
                    </a:cubicBezTo>
                    <a:cubicBezTo>
                      <a:pt x="1167" y="510"/>
                      <a:pt x="1167" y="510"/>
                      <a:pt x="1167" y="510"/>
                    </a:cubicBezTo>
                    <a:cubicBezTo>
                      <a:pt x="1123" y="524"/>
                      <a:pt x="1123" y="524"/>
                      <a:pt x="1123" y="524"/>
                    </a:cubicBezTo>
                    <a:cubicBezTo>
                      <a:pt x="1123" y="451"/>
                      <a:pt x="1123" y="451"/>
                      <a:pt x="1123" y="451"/>
                    </a:cubicBezTo>
                    <a:cubicBezTo>
                      <a:pt x="1064" y="494"/>
                      <a:pt x="968" y="548"/>
                      <a:pt x="903" y="548"/>
                    </a:cubicBezTo>
                    <a:cubicBezTo>
                      <a:pt x="838" y="548"/>
                      <a:pt x="742" y="494"/>
                      <a:pt x="683" y="452"/>
                    </a:cubicBezTo>
                    <a:cubicBezTo>
                      <a:pt x="683" y="524"/>
                      <a:pt x="683" y="524"/>
                      <a:pt x="683" y="524"/>
                    </a:cubicBezTo>
                    <a:cubicBezTo>
                      <a:pt x="639" y="510"/>
                      <a:pt x="639" y="510"/>
                      <a:pt x="639" y="510"/>
                    </a:cubicBezTo>
                    <a:cubicBezTo>
                      <a:pt x="639" y="414"/>
                      <a:pt x="639" y="414"/>
                      <a:pt x="639" y="414"/>
                    </a:cubicBezTo>
                    <a:cubicBezTo>
                      <a:pt x="594" y="359"/>
                      <a:pt x="517" y="168"/>
                      <a:pt x="495" y="112"/>
                    </a:cubicBezTo>
                    <a:cubicBezTo>
                      <a:pt x="446" y="83"/>
                      <a:pt x="431" y="33"/>
                      <a:pt x="426" y="5"/>
                    </a:cubicBezTo>
                    <a:cubicBezTo>
                      <a:pt x="426" y="4"/>
                      <a:pt x="426" y="2"/>
                      <a:pt x="426" y="0"/>
                    </a:cubicBezTo>
                    <a:lnTo>
                      <a:pt x="477" y="24"/>
                    </a:lnTo>
                    <a:close/>
                    <a:moveTo>
                      <a:pt x="887" y="757"/>
                    </a:moveTo>
                    <a:cubicBezTo>
                      <a:pt x="892" y="755"/>
                      <a:pt x="897" y="754"/>
                      <a:pt x="903" y="754"/>
                    </a:cubicBezTo>
                    <a:cubicBezTo>
                      <a:pt x="909" y="754"/>
                      <a:pt x="914" y="755"/>
                      <a:pt x="919" y="757"/>
                    </a:cubicBezTo>
                    <a:cubicBezTo>
                      <a:pt x="1016" y="679"/>
                      <a:pt x="1016" y="679"/>
                      <a:pt x="1016" y="679"/>
                    </a:cubicBezTo>
                    <a:cubicBezTo>
                      <a:pt x="1009" y="679"/>
                      <a:pt x="1001" y="679"/>
                      <a:pt x="993" y="679"/>
                    </a:cubicBezTo>
                    <a:cubicBezTo>
                      <a:pt x="966" y="679"/>
                      <a:pt x="938" y="681"/>
                      <a:pt x="908" y="684"/>
                    </a:cubicBezTo>
                    <a:cubicBezTo>
                      <a:pt x="898" y="684"/>
                      <a:pt x="898" y="684"/>
                      <a:pt x="898" y="684"/>
                    </a:cubicBezTo>
                    <a:cubicBezTo>
                      <a:pt x="868" y="681"/>
                      <a:pt x="840" y="679"/>
                      <a:pt x="813" y="679"/>
                    </a:cubicBezTo>
                    <a:cubicBezTo>
                      <a:pt x="805" y="679"/>
                      <a:pt x="797" y="679"/>
                      <a:pt x="790" y="679"/>
                    </a:cubicBezTo>
                    <a:lnTo>
                      <a:pt x="887" y="757"/>
                    </a:lnTo>
                    <a:close/>
                    <a:moveTo>
                      <a:pt x="1801" y="931"/>
                    </a:moveTo>
                    <a:cubicBezTo>
                      <a:pt x="1773" y="857"/>
                      <a:pt x="1693" y="664"/>
                      <a:pt x="1583" y="614"/>
                    </a:cubicBezTo>
                    <a:cubicBezTo>
                      <a:pt x="1489" y="570"/>
                      <a:pt x="1338" y="555"/>
                      <a:pt x="1255" y="550"/>
                    </a:cubicBezTo>
                    <a:cubicBezTo>
                      <a:pt x="1279" y="582"/>
                      <a:pt x="1305" y="635"/>
                      <a:pt x="1302" y="704"/>
                    </a:cubicBezTo>
                    <a:cubicBezTo>
                      <a:pt x="1300" y="732"/>
                      <a:pt x="1276" y="755"/>
                      <a:pt x="1248" y="755"/>
                    </a:cubicBezTo>
                    <a:cubicBezTo>
                      <a:pt x="1234" y="755"/>
                      <a:pt x="1220" y="749"/>
                      <a:pt x="1210" y="740"/>
                    </a:cubicBezTo>
                    <a:cubicBezTo>
                      <a:pt x="1196" y="726"/>
                      <a:pt x="1158" y="698"/>
                      <a:pt x="1080" y="685"/>
                    </a:cubicBezTo>
                    <a:cubicBezTo>
                      <a:pt x="951" y="788"/>
                      <a:pt x="951" y="788"/>
                      <a:pt x="951" y="788"/>
                    </a:cubicBezTo>
                    <a:cubicBezTo>
                      <a:pt x="953" y="793"/>
                      <a:pt x="954" y="799"/>
                      <a:pt x="954" y="805"/>
                    </a:cubicBezTo>
                    <a:cubicBezTo>
                      <a:pt x="954" y="915"/>
                      <a:pt x="954" y="915"/>
                      <a:pt x="954" y="915"/>
                    </a:cubicBezTo>
                    <a:cubicBezTo>
                      <a:pt x="903" y="915"/>
                      <a:pt x="903" y="915"/>
                      <a:pt x="903" y="915"/>
                    </a:cubicBezTo>
                    <a:cubicBezTo>
                      <a:pt x="903" y="856"/>
                      <a:pt x="903" y="856"/>
                      <a:pt x="903" y="856"/>
                    </a:cubicBezTo>
                    <a:cubicBezTo>
                      <a:pt x="875" y="856"/>
                      <a:pt x="852" y="833"/>
                      <a:pt x="852" y="805"/>
                    </a:cubicBezTo>
                    <a:cubicBezTo>
                      <a:pt x="852" y="799"/>
                      <a:pt x="853" y="793"/>
                      <a:pt x="855" y="788"/>
                    </a:cubicBezTo>
                    <a:cubicBezTo>
                      <a:pt x="726" y="685"/>
                      <a:pt x="726" y="685"/>
                      <a:pt x="726" y="685"/>
                    </a:cubicBezTo>
                    <a:cubicBezTo>
                      <a:pt x="648" y="698"/>
                      <a:pt x="610" y="726"/>
                      <a:pt x="596" y="740"/>
                    </a:cubicBezTo>
                    <a:cubicBezTo>
                      <a:pt x="586" y="749"/>
                      <a:pt x="572" y="755"/>
                      <a:pt x="558" y="755"/>
                    </a:cubicBezTo>
                    <a:cubicBezTo>
                      <a:pt x="558" y="755"/>
                      <a:pt x="558" y="755"/>
                      <a:pt x="558" y="755"/>
                    </a:cubicBezTo>
                    <a:cubicBezTo>
                      <a:pt x="530" y="755"/>
                      <a:pt x="506" y="732"/>
                      <a:pt x="504" y="704"/>
                    </a:cubicBezTo>
                    <a:cubicBezTo>
                      <a:pt x="501" y="635"/>
                      <a:pt x="527" y="582"/>
                      <a:pt x="551" y="550"/>
                    </a:cubicBezTo>
                    <a:cubicBezTo>
                      <a:pt x="468" y="555"/>
                      <a:pt x="317" y="570"/>
                      <a:pt x="223" y="614"/>
                    </a:cubicBezTo>
                    <a:cubicBezTo>
                      <a:pt x="113" y="664"/>
                      <a:pt x="33" y="857"/>
                      <a:pt x="5" y="931"/>
                    </a:cubicBezTo>
                    <a:cubicBezTo>
                      <a:pt x="0" y="945"/>
                      <a:pt x="10" y="961"/>
                      <a:pt x="26" y="961"/>
                    </a:cubicBezTo>
                    <a:cubicBezTo>
                      <a:pt x="1780" y="961"/>
                      <a:pt x="1780" y="961"/>
                      <a:pt x="1780" y="961"/>
                    </a:cubicBezTo>
                    <a:cubicBezTo>
                      <a:pt x="1796" y="961"/>
                      <a:pt x="1806" y="945"/>
                      <a:pt x="1801" y="9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6">
                <a:extLst>
                  <a:ext uri="{FF2B5EF4-FFF2-40B4-BE49-F238E27FC236}">
                    <a16:creationId xmlns:a16="http://schemas.microsoft.com/office/drawing/2014/main" id="{6D9D5702-A900-404B-BF43-FB915C5F527F}"/>
                  </a:ext>
                </a:extLst>
              </p:cNvPr>
              <p:cNvSpPr>
                <a:spLocks noEditPoints="1"/>
              </p:cNvSpPr>
              <p:nvPr/>
            </p:nvSpPr>
            <p:spPr bwMode="auto">
              <a:xfrm>
                <a:off x="5757671" y="2805303"/>
                <a:ext cx="675132" cy="1024509"/>
              </a:xfrm>
              <a:custGeom>
                <a:avLst/>
                <a:gdLst>
                  <a:gd name="T0" fmla="*/ 928 w 946"/>
                  <a:gd name="T1" fmla="*/ 647 h 1434"/>
                  <a:gd name="T2" fmla="*/ 928 w 946"/>
                  <a:gd name="T3" fmla="*/ 646 h 1434"/>
                  <a:gd name="T4" fmla="*/ 874 w 946"/>
                  <a:gd name="T5" fmla="*/ 722 h 1434"/>
                  <a:gd name="T6" fmla="*/ 840 w 946"/>
                  <a:gd name="T7" fmla="*/ 722 h 1434"/>
                  <a:gd name="T8" fmla="*/ 835 w 946"/>
                  <a:gd name="T9" fmla="*/ 366 h 1434"/>
                  <a:gd name="T10" fmla="*/ 214 w 946"/>
                  <a:gd name="T11" fmla="*/ 388 h 1434"/>
                  <a:gd name="T12" fmla="*/ 98 w 946"/>
                  <a:gd name="T13" fmla="*/ 716 h 1434"/>
                  <a:gd name="T14" fmla="*/ 67 w 946"/>
                  <a:gd name="T15" fmla="*/ 713 h 1434"/>
                  <a:gd name="T16" fmla="*/ 20 w 946"/>
                  <a:gd name="T17" fmla="*/ 653 h 1434"/>
                  <a:gd name="T18" fmla="*/ 20 w 946"/>
                  <a:gd name="T19" fmla="*/ 652 h 1434"/>
                  <a:gd name="T20" fmla="*/ 1 w 946"/>
                  <a:gd name="T21" fmla="*/ 483 h 1434"/>
                  <a:gd name="T22" fmla="*/ 473 w 946"/>
                  <a:gd name="T23" fmla="*/ 0 h 1434"/>
                  <a:gd name="T24" fmla="*/ 945 w 946"/>
                  <a:gd name="T25" fmla="*/ 483 h 1434"/>
                  <a:gd name="T26" fmla="*/ 928 w 946"/>
                  <a:gd name="T27" fmla="*/ 647 h 1434"/>
                  <a:gd name="T28" fmla="*/ 473 w 946"/>
                  <a:gd name="T29" fmla="*/ 1360 h 1434"/>
                  <a:gd name="T30" fmla="*/ 181 w 946"/>
                  <a:gd name="T31" fmla="*/ 1268 h 1434"/>
                  <a:gd name="T32" fmla="*/ 118 w 946"/>
                  <a:gd name="T33" fmla="*/ 1421 h 1434"/>
                  <a:gd name="T34" fmla="*/ 135 w 946"/>
                  <a:gd name="T35" fmla="*/ 1428 h 1434"/>
                  <a:gd name="T36" fmla="*/ 473 w 946"/>
                  <a:gd name="T37" fmla="*/ 1360 h 1434"/>
                  <a:gd name="T38" fmla="*/ 811 w 946"/>
                  <a:gd name="T39" fmla="*/ 1428 h 1434"/>
                  <a:gd name="T40" fmla="*/ 828 w 946"/>
                  <a:gd name="T41" fmla="*/ 1421 h 1434"/>
                  <a:gd name="T42" fmla="*/ 765 w 946"/>
                  <a:gd name="T43" fmla="*/ 1268 h 1434"/>
                  <a:gd name="T44" fmla="*/ 473 w 946"/>
                  <a:gd name="T45" fmla="*/ 1360 h 1434"/>
                  <a:gd name="T46" fmla="*/ 811 w 946"/>
                  <a:gd name="T47" fmla="*/ 1428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1434">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473" y="1360"/>
                    </a:moveTo>
                    <a:cubicBezTo>
                      <a:pt x="181" y="1268"/>
                      <a:pt x="181" y="1268"/>
                      <a:pt x="181" y="1268"/>
                    </a:cubicBezTo>
                    <a:cubicBezTo>
                      <a:pt x="181" y="1268"/>
                      <a:pt x="113" y="1326"/>
                      <a:pt x="118" y="1421"/>
                    </a:cubicBezTo>
                    <a:cubicBezTo>
                      <a:pt x="119" y="1430"/>
                      <a:pt x="129" y="1434"/>
                      <a:pt x="135" y="1428"/>
                    </a:cubicBezTo>
                    <a:cubicBezTo>
                      <a:pt x="167" y="1397"/>
                      <a:pt x="258" y="1337"/>
                      <a:pt x="473" y="1360"/>
                    </a:cubicBezTo>
                    <a:close/>
                    <a:moveTo>
                      <a:pt x="811" y="1428"/>
                    </a:moveTo>
                    <a:cubicBezTo>
                      <a:pt x="817" y="1434"/>
                      <a:pt x="827" y="1430"/>
                      <a:pt x="828" y="1421"/>
                    </a:cubicBezTo>
                    <a:cubicBezTo>
                      <a:pt x="833" y="1326"/>
                      <a:pt x="765" y="1268"/>
                      <a:pt x="765" y="1268"/>
                    </a:cubicBezTo>
                    <a:cubicBezTo>
                      <a:pt x="473" y="1360"/>
                      <a:pt x="473" y="1360"/>
                      <a:pt x="473" y="1360"/>
                    </a:cubicBezTo>
                    <a:cubicBezTo>
                      <a:pt x="688" y="1337"/>
                      <a:pt x="779" y="1397"/>
                      <a:pt x="811" y="14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0" name="Group 39"/>
          <p:cNvGrpSpPr>
            <a:grpSpLocks noChangeAspect="1"/>
          </p:cNvGrpSpPr>
          <p:nvPr/>
        </p:nvGrpSpPr>
        <p:grpSpPr>
          <a:xfrm>
            <a:off x="8985574" y="1790441"/>
            <a:ext cx="476323" cy="476765"/>
            <a:chOff x="5273801" y="2606040"/>
            <a:chExt cx="1644396" cy="1645920"/>
          </a:xfrm>
        </p:grpSpPr>
        <p:sp>
          <p:nvSpPr>
            <p:cNvPr id="41" name="AutoShape 23">
              <a:extLst>
                <a:ext uri="{FF2B5EF4-FFF2-40B4-BE49-F238E27FC236}">
                  <a16:creationId xmlns:a16="http://schemas.microsoft.com/office/drawing/2014/main" id="{3B51CA84-BC38-422B-8ADA-5C0D31122932}"/>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2" name="Group 41"/>
            <p:cNvGrpSpPr/>
            <p:nvPr/>
          </p:nvGrpSpPr>
          <p:grpSpPr>
            <a:xfrm>
              <a:off x="5450966" y="2805303"/>
              <a:ext cx="1288923" cy="1200912"/>
              <a:chOff x="5450966" y="2805303"/>
              <a:chExt cx="1288923" cy="1200912"/>
            </a:xfrm>
          </p:grpSpPr>
          <p:sp>
            <p:nvSpPr>
              <p:cNvPr id="43" name="Freeform 25">
                <a:extLst>
                  <a:ext uri="{FF2B5EF4-FFF2-40B4-BE49-F238E27FC236}">
                    <a16:creationId xmlns:a16="http://schemas.microsoft.com/office/drawing/2014/main" id="{E9905D5D-B4F3-402C-A5B3-BEE51804C009}"/>
                  </a:ext>
                </a:extLst>
              </p:cNvPr>
              <p:cNvSpPr>
                <a:spLocks noEditPoints="1"/>
              </p:cNvSpPr>
              <p:nvPr/>
            </p:nvSpPr>
            <p:spPr bwMode="auto">
              <a:xfrm>
                <a:off x="5450966" y="3319653"/>
                <a:ext cx="1288923" cy="686562"/>
              </a:xfrm>
              <a:custGeom>
                <a:avLst/>
                <a:gdLst>
                  <a:gd name="T0" fmla="*/ 477 w 1806"/>
                  <a:gd name="T1" fmla="*/ 24 h 961"/>
                  <a:gd name="T2" fmla="*/ 523 w 1806"/>
                  <a:gd name="T3" fmla="*/ 77 h 961"/>
                  <a:gd name="T4" fmla="*/ 533 w 1806"/>
                  <a:gd name="T5" fmla="*/ 89 h 961"/>
                  <a:gd name="T6" fmla="*/ 677 w 1806"/>
                  <a:gd name="T7" fmla="*/ 391 h 961"/>
                  <a:gd name="T8" fmla="*/ 903 w 1806"/>
                  <a:gd name="T9" fmla="*/ 504 h 961"/>
                  <a:gd name="T10" fmla="*/ 1129 w 1806"/>
                  <a:gd name="T11" fmla="*/ 391 h 961"/>
                  <a:gd name="T12" fmla="*/ 1272 w 1806"/>
                  <a:gd name="T13" fmla="*/ 89 h 961"/>
                  <a:gd name="T14" fmla="*/ 1283 w 1806"/>
                  <a:gd name="T15" fmla="*/ 77 h 961"/>
                  <a:gd name="T16" fmla="*/ 1329 w 1806"/>
                  <a:gd name="T17" fmla="*/ 24 h 961"/>
                  <a:gd name="T18" fmla="*/ 1380 w 1806"/>
                  <a:gd name="T19" fmla="*/ 0 h 961"/>
                  <a:gd name="T20" fmla="*/ 1380 w 1806"/>
                  <a:gd name="T21" fmla="*/ 3 h 961"/>
                  <a:gd name="T22" fmla="*/ 1310 w 1806"/>
                  <a:gd name="T23" fmla="*/ 112 h 961"/>
                  <a:gd name="T24" fmla="*/ 1167 w 1806"/>
                  <a:gd name="T25" fmla="*/ 414 h 961"/>
                  <a:gd name="T26" fmla="*/ 1167 w 1806"/>
                  <a:gd name="T27" fmla="*/ 510 h 961"/>
                  <a:gd name="T28" fmla="*/ 1123 w 1806"/>
                  <a:gd name="T29" fmla="*/ 524 h 961"/>
                  <a:gd name="T30" fmla="*/ 1123 w 1806"/>
                  <a:gd name="T31" fmla="*/ 451 h 961"/>
                  <a:gd name="T32" fmla="*/ 903 w 1806"/>
                  <a:gd name="T33" fmla="*/ 548 h 961"/>
                  <a:gd name="T34" fmla="*/ 683 w 1806"/>
                  <a:gd name="T35" fmla="*/ 452 h 961"/>
                  <a:gd name="T36" fmla="*/ 683 w 1806"/>
                  <a:gd name="T37" fmla="*/ 524 h 961"/>
                  <a:gd name="T38" fmla="*/ 639 w 1806"/>
                  <a:gd name="T39" fmla="*/ 510 h 961"/>
                  <a:gd name="T40" fmla="*/ 639 w 1806"/>
                  <a:gd name="T41" fmla="*/ 414 h 961"/>
                  <a:gd name="T42" fmla="*/ 495 w 1806"/>
                  <a:gd name="T43" fmla="*/ 112 h 961"/>
                  <a:gd name="T44" fmla="*/ 426 w 1806"/>
                  <a:gd name="T45" fmla="*/ 5 h 961"/>
                  <a:gd name="T46" fmla="*/ 426 w 1806"/>
                  <a:gd name="T47" fmla="*/ 0 h 961"/>
                  <a:gd name="T48" fmla="*/ 477 w 1806"/>
                  <a:gd name="T49" fmla="*/ 24 h 961"/>
                  <a:gd name="T50" fmla="*/ 887 w 1806"/>
                  <a:gd name="T51" fmla="*/ 757 h 961"/>
                  <a:gd name="T52" fmla="*/ 903 w 1806"/>
                  <a:gd name="T53" fmla="*/ 754 h 961"/>
                  <a:gd name="T54" fmla="*/ 919 w 1806"/>
                  <a:gd name="T55" fmla="*/ 757 h 961"/>
                  <a:gd name="T56" fmla="*/ 1016 w 1806"/>
                  <a:gd name="T57" fmla="*/ 679 h 961"/>
                  <a:gd name="T58" fmla="*/ 993 w 1806"/>
                  <a:gd name="T59" fmla="*/ 679 h 961"/>
                  <a:gd name="T60" fmla="*/ 908 w 1806"/>
                  <a:gd name="T61" fmla="*/ 684 h 961"/>
                  <a:gd name="T62" fmla="*/ 898 w 1806"/>
                  <a:gd name="T63" fmla="*/ 684 h 961"/>
                  <a:gd name="T64" fmla="*/ 813 w 1806"/>
                  <a:gd name="T65" fmla="*/ 679 h 961"/>
                  <a:gd name="T66" fmla="*/ 790 w 1806"/>
                  <a:gd name="T67" fmla="*/ 679 h 961"/>
                  <a:gd name="T68" fmla="*/ 887 w 1806"/>
                  <a:gd name="T69" fmla="*/ 757 h 961"/>
                  <a:gd name="T70" fmla="*/ 1801 w 1806"/>
                  <a:gd name="T71" fmla="*/ 931 h 961"/>
                  <a:gd name="T72" fmla="*/ 1583 w 1806"/>
                  <a:gd name="T73" fmla="*/ 614 h 961"/>
                  <a:gd name="T74" fmla="*/ 1255 w 1806"/>
                  <a:gd name="T75" fmla="*/ 550 h 961"/>
                  <a:gd name="T76" fmla="*/ 1302 w 1806"/>
                  <a:gd name="T77" fmla="*/ 704 h 961"/>
                  <a:gd name="T78" fmla="*/ 1248 w 1806"/>
                  <a:gd name="T79" fmla="*/ 755 h 961"/>
                  <a:gd name="T80" fmla="*/ 1210 w 1806"/>
                  <a:gd name="T81" fmla="*/ 740 h 961"/>
                  <a:gd name="T82" fmla="*/ 1080 w 1806"/>
                  <a:gd name="T83" fmla="*/ 685 h 961"/>
                  <a:gd name="T84" fmla="*/ 951 w 1806"/>
                  <a:gd name="T85" fmla="*/ 788 h 961"/>
                  <a:gd name="T86" fmla="*/ 954 w 1806"/>
                  <a:gd name="T87" fmla="*/ 805 h 961"/>
                  <a:gd name="T88" fmla="*/ 954 w 1806"/>
                  <a:gd name="T89" fmla="*/ 915 h 961"/>
                  <a:gd name="T90" fmla="*/ 903 w 1806"/>
                  <a:gd name="T91" fmla="*/ 915 h 961"/>
                  <a:gd name="T92" fmla="*/ 903 w 1806"/>
                  <a:gd name="T93" fmla="*/ 856 h 961"/>
                  <a:gd name="T94" fmla="*/ 852 w 1806"/>
                  <a:gd name="T95" fmla="*/ 805 h 961"/>
                  <a:gd name="T96" fmla="*/ 855 w 1806"/>
                  <a:gd name="T97" fmla="*/ 788 h 961"/>
                  <a:gd name="T98" fmla="*/ 726 w 1806"/>
                  <a:gd name="T99" fmla="*/ 685 h 961"/>
                  <a:gd name="T100" fmla="*/ 596 w 1806"/>
                  <a:gd name="T101" fmla="*/ 740 h 961"/>
                  <a:gd name="T102" fmla="*/ 558 w 1806"/>
                  <a:gd name="T103" fmla="*/ 755 h 961"/>
                  <a:gd name="T104" fmla="*/ 558 w 1806"/>
                  <a:gd name="T105" fmla="*/ 755 h 961"/>
                  <a:gd name="T106" fmla="*/ 504 w 1806"/>
                  <a:gd name="T107" fmla="*/ 704 h 961"/>
                  <a:gd name="T108" fmla="*/ 551 w 1806"/>
                  <a:gd name="T109" fmla="*/ 550 h 961"/>
                  <a:gd name="T110" fmla="*/ 223 w 1806"/>
                  <a:gd name="T111" fmla="*/ 614 h 961"/>
                  <a:gd name="T112" fmla="*/ 5 w 1806"/>
                  <a:gd name="T113" fmla="*/ 931 h 961"/>
                  <a:gd name="T114" fmla="*/ 26 w 1806"/>
                  <a:gd name="T115" fmla="*/ 961 h 961"/>
                  <a:gd name="T116" fmla="*/ 1780 w 1806"/>
                  <a:gd name="T117" fmla="*/ 961 h 961"/>
                  <a:gd name="T118" fmla="*/ 1801 w 1806"/>
                  <a:gd name="T119" fmla="*/ 93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6" h="961">
                    <a:moveTo>
                      <a:pt x="477" y="24"/>
                    </a:moveTo>
                    <a:cubicBezTo>
                      <a:pt x="484" y="43"/>
                      <a:pt x="498" y="65"/>
                      <a:pt x="523" y="77"/>
                    </a:cubicBezTo>
                    <a:cubicBezTo>
                      <a:pt x="528" y="80"/>
                      <a:pt x="531" y="84"/>
                      <a:pt x="533" y="89"/>
                    </a:cubicBezTo>
                    <a:cubicBezTo>
                      <a:pt x="574" y="192"/>
                      <a:pt x="648" y="365"/>
                      <a:pt x="677" y="391"/>
                    </a:cubicBezTo>
                    <a:cubicBezTo>
                      <a:pt x="722" y="430"/>
                      <a:pt x="838" y="504"/>
                      <a:pt x="903" y="504"/>
                    </a:cubicBezTo>
                    <a:cubicBezTo>
                      <a:pt x="967" y="504"/>
                      <a:pt x="1084" y="430"/>
                      <a:pt x="1129" y="391"/>
                    </a:cubicBezTo>
                    <a:cubicBezTo>
                      <a:pt x="1157" y="365"/>
                      <a:pt x="1232" y="192"/>
                      <a:pt x="1272" y="89"/>
                    </a:cubicBezTo>
                    <a:cubicBezTo>
                      <a:pt x="1274" y="84"/>
                      <a:pt x="1278" y="80"/>
                      <a:pt x="1283" y="77"/>
                    </a:cubicBezTo>
                    <a:cubicBezTo>
                      <a:pt x="1308" y="65"/>
                      <a:pt x="1322" y="44"/>
                      <a:pt x="1329" y="24"/>
                    </a:cubicBezTo>
                    <a:cubicBezTo>
                      <a:pt x="1380" y="0"/>
                      <a:pt x="1380" y="0"/>
                      <a:pt x="1380" y="0"/>
                    </a:cubicBezTo>
                    <a:cubicBezTo>
                      <a:pt x="1380" y="1"/>
                      <a:pt x="1380" y="2"/>
                      <a:pt x="1380" y="3"/>
                    </a:cubicBezTo>
                    <a:cubicBezTo>
                      <a:pt x="1376" y="26"/>
                      <a:pt x="1363" y="82"/>
                      <a:pt x="1310" y="112"/>
                    </a:cubicBezTo>
                    <a:cubicBezTo>
                      <a:pt x="1288" y="168"/>
                      <a:pt x="1212" y="358"/>
                      <a:pt x="1167" y="414"/>
                    </a:cubicBezTo>
                    <a:cubicBezTo>
                      <a:pt x="1167" y="510"/>
                      <a:pt x="1167" y="510"/>
                      <a:pt x="1167" y="510"/>
                    </a:cubicBezTo>
                    <a:cubicBezTo>
                      <a:pt x="1123" y="524"/>
                      <a:pt x="1123" y="524"/>
                      <a:pt x="1123" y="524"/>
                    </a:cubicBezTo>
                    <a:cubicBezTo>
                      <a:pt x="1123" y="451"/>
                      <a:pt x="1123" y="451"/>
                      <a:pt x="1123" y="451"/>
                    </a:cubicBezTo>
                    <a:cubicBezTo>
                      <a:pt x="1064" y="494"/>
                      <a:pt x="968" y="548"/>
                      <a:pt x="903" y="548"/>
                    </a:cubicBezTo>
                    <a:cubicBezTo>
                      <a:pt x="838" y="548"/>
                      <a:pt x="742" y="494"/>
                      <a:pt x="683" y="452"/>
                    </a:cubicBezTo>
                    <a:cubicBezTo>
                      <a:pt x="683" y="524"/>
                      <a:pt x="683" y="524"/>
                      <a:pt x="683" y="524"/>
                    </a:cubicBezTo>
                    <a:cubicBezTo>
                      <a:pt x="639" y="510"/>
                      <a:pt x="639" y="510"/>
                      <a:pt x="639" y="510"/>
                    </a:cubicBezTo>
                    <a:cubicBezTo>
                      <a:pt x="639" y="414"/>
                      <a:pt x="639" y="414"/>
                      <a:pt x="639" y="414"/>
                    </a:cubicBezTo>
                    <a:cubicBezTo>
                      <a:pt x="594" y="359"/>
                      <a:pt x="517" y="168"/>
                      <a:pt x="495" y="112"/>
                    </a:cubicBezTo>
                    <a:cubicBezTo>
                      <a:pt x="446" y="83"/>
                      <a:pt x="431" y="33"/>
                      <a:pt x="426" y="5"/>
                    </a:cubicBezTo>
                    <a:cubicBezTo>
                      <a:pt x="426" y="4"/>
                      <a:pt x="426" y="2"/>
                      <a:pt x="426" y="0"/>
                    </a:cubicBezTo>
                    <a:lnTo>
                      <a:pt x="477" y="24"/>
                    </a:lnTo>
                    <a:close/>
                    <a:moveTo>
                      <a:pt x="887" y="757"/>
                    </a:moveTo>
                    <a:cubicBezTo>
                      <a:pt x="892" y="755"/>
                      <a:pt x="897" y="754"/>
                      <a:pt x="903" y="754"/>
                    </a:cubicBezTo>
                    <a:cubicBezTo>
                      <a:pt x="909" y="754"/>
                      <a:pt x="914" y="755"/>
                      <a:pt x="919" y="757"/>
                    </a:cubicBezTo>
                    <a:cubicBezTo>
                      <a:pt x="1016" y="679"/>
                      <a:pt x="1016" y="679"/>
                      <a:pt x="1016" y="679"/>
                    </a:cubicBezTo>
                    <a:cubicBezTo>
                      <a:pt x="1009" y="679"/>
                      <a:pt x="1001" y="679"/>
                      <a:pt x="993" y="679"/>
                    </a:cubicBezTo>
                    <a:cubicBezTo>
                      <a:pt x="966" y="679"/>
                      <a:pt x="938" y="681"/>
                      <a:pt x="908" y="684"/>
                    </a:cubicBezTo>
                    <a:cubicBezTo>
                      <a:pt x="898" y="684"/>
                      <a:pt x="898" y="684"/>
                      <a:pt x="898" y="684"/>
                    </a:cubicBezTo>
                    <a:cubicBezTo>
                      <a:pt x="868" y="681"/>
                      <a:pt x="840" y="679"/>
                      <a:pt x="813" y="679"/>
                    </a:cubicBezTo>
                    <a:cubicBezTo>
                      <a:pt x="805" y="679"/>
                      <a:pt x="797" y="679"/>
                      <a:pt x="790" y="679"/>
                    </a:cubicBezTo>
                    <a:lnTo>
                      <a:pt x="887" y="757"/>
                    </a:lnTo>
                    <a:close/>
                    <a:moveTo>
                      <a:pt x="1801" y="931"/>
                    </a:moveTo>
                    <a:cubicBezTo>
                      <a:pt x="1773" y="857"/>
                      <a:pt x="1693" y="664"/>
                      <a:pt x="1583" y="614"/>
                    </a:cubicBezTo>
                    <a:cubicBezTo>
                      <a:pt x="1489" y="570"/>
                      <a:pt x="1338" y="555"/>
                      <a:pt x="1255" y="550"/>
                    </a:cubicBezTo>
                    <a:cubicBezTo>
                      <a:pt x="1279" y="582"/>
                      <a:pt x="1305" y="635"/>
                      <a:pt x="1302" y="704"/>
                    </a:cubicBezTo>
                    <a:cubicBezTo>
                      <a:pt x="1300" y="732"/>
                      <a:pt x="1276" y="755"/>
                      <a:pt x="1248" y="755"/>
                    </a:cubicBezTo>
                    <a:cubicBezTo>
                      <a:pt x="1234" y="755"/>
                      <a:pt x="1220" y="749"/>
                      <a:pt x="1210" y="740"/>
                    </a:cubicBezTo>
                    <a:cubicBezTo>
                      <a:pt x="1196" y="726"/>
                      <a:pt x="1158" y="698"/>
                      <a:pt x="1080" y="685"/>
                    </a:cubicBezTo>
                    <a:cubicBezTo>
                      <a:pt x="951" y="788"/>
                      <a:pt x="951" y="788"/>
                      <a:pt x="951" y="788"/>
                    </a:cubicBezTo>
                    <a:cubicBezTo>
                      <a:pt x="953" y="793"/>
                      <a:pt x="954" y="799"/>
                      <a:pt x="954" y="805"/>
                    </a:cubicBezTo>
                    <a:cubicBezTo>
                      <a:pt x="954" y="915"/>
                      <a:pt x="954" y="915"/>
                      <a:pt x="954" y="915"/>
                    </a:cubicBezTo>
                    <a:cubicBezTo>
                      <a:pt x="903" y="915"/>
                      <a:pt x="903" y="915"/>
                      <a:pt x="903" y="915"/>
                    </a:cubicBezTo>
                    <a:cubicBezTo>
                      <a:pt x="903" y="856"/>
                      <a:pt x="903" y="856"/>
                      <a:pt x="903" y="856"/>
                    </a:cubicBezTo>
                    <a:cubicBezTo>
                      <a:pt x="875" y="856"/>
                      <a:pt x="852" y="833"/>
                      <a:pt x="852" y="805"/>
                    </a:cubicBezTo>
                    <a:cubicBezTo>
                      <a:pt x="852" y="799"/>
                      <a:pt x="853" y="793"/>
                      <a:pt x="855" y="788"/>
                    </a:cubicBezTo>
                    <a:cubicBezTo>
                      <a:pt x="726" y="685"/>
                      <a:pt x="726" y="685"/>
                      <a:pt x="726" y="685"/>
                    </a:cubicBezTo>
                    <a:cubicBezTo>
                      <a:pt x="648" y="698"/>
                      <a:pt x="610" y="726"/>
                      <a:pt x="596" y="740"/>
                    </a:cubicBezTo>
                    <a:cubicBezTo>
                      <a:pt x="586" y="749"/>
                      <a:pt x="572" y="755"/>
                      <a:pt x="558" y="755"/>
                    </a:cubicBezTo>
                    <a:cubicBezTo>
                      <a:pt x="558" y="755"/>
                      <a:pt x="558" y="755"/>
                      <a:pt x="558" y="755"/>
                    </a:cubicBezTo>
                    <a:cubicBezTo>
                      <a:pt x="530" y="755"/>
                      <a:pt x="506" y="732"/>
                      <a:pt x="504" y="704"/>
                    </a:cubicBezTo>
                    <a:cubicBezTo>
                      <a:pt x="501" y="635"/>
                      <a:pt x="527" y="582"/>
                      <a:pt x="551" y="550"/>
                    </a:cubicBezTo>
                    <a:cubicBezTo>
                      <a:pt x="468" y="555"/>
                      <a:pt x="317" y="570"/>
                      <a:pt x="223" y="614"/>
                    </a:cubicBezTo>
                    <a:cubicBezTo>
                      <a:pt x="113" y="664"/>
                      <a:pt x="33" y="857"/>
                      <a:pt x="5" y="931"/>
                    </a:cubicBezTo>
                    <a:cubicBezTo>
                      <a:pt x="0" y="945"/>
                      <a:pt x="10" y="961"/>
                      <a:pt x="26" y="961"/>
                    </a:cubicBezTo>
                    <a:cubicBezTo>
                      <a:pt x="1780" y="961"/>
                      <a:pt x="1780" y="961"/>
                      <a:pt x="1780" y="961"/>
                    </a:cubicBezTo>
                    <a:cubicBezTo>
                      <a:pt x="1796" y="961"/>
                      <a:pt x="1806" y="945"/>
                      <a:pt x="1801" y="9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6">
                <a:extLst>
                  <a:ext uri="{FF2B5EF4-FFF2-40B4-BE49-F238E27FC236}">
                    <a16:creationId xmlns:a16="http://schemas.microsoft.com/office/drawing/2014/main" id="{6D9D5702-A900-404B-BF43-FB915C5F527F}"/>
                  </a:ext>
                </a:extLst>
              </p:cNvPr>
              <p:cNvSpPr>
                <a:spLocks noEditPoints="1"/>
              </p:cNvSpPr>
              <p:nvPr/>
            </p:nvSpPr>
            <p:spPr bwMode="auto">
              <a:xfrm>
                <a:off x="5757671" y="2805303"/>
                <a:ext cx="675132" cy="1024509"/>
              </a:xfrm>
              <a:custGeom>
                <a:avLst/>
                <a:gdLst>
                  <a:gd name="T0" fmla="*/ 928 w 946"/>
                  <a:gd name="T1" fmla="*/ 647 h 1434"/>
                  <a:gd name="T2" fmla="*/ 928 w 946"/>
                  <a:gd name="T3" fmla="*/ 646 h 1434"/>
                  <a:gd name="T4" fmla="*/ 874 w 946"/>
                  <a:gd name="T5" fmla="*/ 722 h 1434"/>
                  <a:gd name="T6" fmla="*/ 840 w 946"/>
                  <a:gd name="T7" fmla="*/ 722 h 1434"/>
                  <a:gd name="T8" fmla="*/ 835 w 946"/>
                  <a:gd name="T9" fmla="*/ 366 h 1434"/>
                  <a:gd name="T10" fmla="*/ 214 w 946"/>
                  <a:gd name="T11" fmla="*/ 388 h 1434"/>
                  <a:gd name="T12" fmla="*/ 98 w 946"/>
                  <a:gd name="T13" fmla="*/ 716 h 1434"/>
                  <a:gd name="T14" fmla="*/ 67 w 946"/>
                  <a:gd name="T15" fmla="*/ 713 h 1434"/>
                  <a:gd name="T16" fmla="*/ 20 w 946"/>
                  <a:gd name="T17" fmla="*/ 653 h 1434"/>
                  <a:gd name="T18" fmla="*/ 20 w 946"/>
                  <a:gd name="T19" fmla="*/ 652 h 1434"/>
                  <a:gd name="T20" fmla="*/ 1 w 946"/>
                  <a:gd name="T21" fmla="*/ 483 h 1434"/>
                  <a:gd name="T22" fmla="*/ 473 w 946"/>
                  <a:gd name="T23" fmla="*/ 0 h 1434"/>
                  <a:gd name="T24" fmla="*/ 945 w 946"/>
                  <a:gd name="T25" fmla="*/ 483 h 1434"/>
                  <a:gd name="T26" fmla="*/ 928 w 946"/>
                  <a:gd name="T27" fmla="*/ 647 h 1434"/>
                  <a:gd name="T28" fmla="*/ 473 w 946"/>
                  <a:gd name="T29" fmla="*/ 1360 h 1434"/>
                  <a:gd name="T30" fmla="*/ 181 w 946"/>
                  <a:gd name="T31" fmla="*/ 1268 h 1434"/>
                  <a:gd name="T32" fmla="*/ 118 w 946"/>
                  <a:gd name="T33" fmla="*/ 1421 h 1434"/>
                  <a:gd name="T34" fmla="*/ 135 w 946"/>
                  <a:gd name="T35" fmla="*/ 1428 h 1434"/>
                  <a:gd name="T36" fmla="*/ 473 w 946"/>
                  <a:gd name="T37" fmla="*/ 1360 h 1434"/>
                  <a:gd name="T38" fmla="*/ 811 w 946"/>
                  <a:gd name="T39" fmla="*/ 1428 h 1434"/>
                  <a:gd name="T40" fmla="*/ 828 w 946"/>
                  <a:gd name="T41" fmla="*/ 1421 h 1434"/>
                  <a:gd name="T42" fmla="*/ 765 w 946"/>
                  <a:gd name="T43" fmla="*/ 1268 h 1434"/>
                  <a:gd name="T44" fmla="*/ 473 w 946"/>
                  <a:gd name="T45" fmla="*/ 1360 h 1434"/>
                  <a:gd name="T46" fmla="*/ 811 w 946"/>
                  <a:gd name="T47" fmla="*/ 1428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1434">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473" y="1360"/>
                    </a:moveTo>
                    <a:cubicBezTo>
                      <a:pt x="181" y="1268"/>
                      <a:pt x="181" y="1268"/>
                      <a:pt x="181" y="1268"/>
                    </a:cubicBezTo>
                    <a:cubicBezTo>
                      <a:pt x="181" y="1268"/>
                      <a:pt x="113" y="1326"/>
                      <a:pt x="118" y="1421"/>
                    </a:cubicBezTo>
                    <a:cubicBezTo>
                      <a:pt x="119" y="1430"/>
                      <a:pt x="129" y="1434"/>
                      <a:pt x="135" y="1428"/>
                    </a:cubicBezTo>
                    <a:cubicBezTo>
                      <a:pt x="167" y="1397"/>
                      <a:pt x="258" y="1337"/>
                      <a:pt x="473" y="1360"/>
                    </a:cubicBezTo>
                    <a:close/>
                    <a:moveTo>
                      <a:pt x="811" y="1428"/>
                    </a:moveTo>
                    <a:cubicBezTo>
                      <a:pt x="817" y="1434"/>
                      <a:pt x="827" y="1430"/>
                      <a:pt x="828" y="1421"/>
                    </a:cubicBezTo>
                    <a:cubicBezTo>
                      <a:pt x="833" y="1326"/>
                      <a:pt x="765" y="1268"/>
                      <a:pt x="765" y="1268"/>
                    </a:cubicBezTo>
                    <a:cubicBezTo>
                      <a:pt x="473" y="1360"/>
                      <a:pt x="473" y="1360"/>
                      <a:pt x="473" y="1360"/>
                    </a:cubicBezTo>
                    <a:cubicBezTo>
                      <a:pt x="688" y="1337"/>
                      <a:pt x="779" y="1397"/>
                      <a:pt x="811" y="14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5" name="Group 44"/>
          <p:cNvGrpSpPr>
            <a:grpSpLocks noChangeAspect="1"/>
          </p:cNvGrpSpPr>
          <p:nvPr/>
        </p:nvGrpSpPr>
        <p:grpSpPr>
          <a:xfrm>
            <a:off x="391837" y="3831222"/>
            <a:ext cx="476323" cy="476765"/>
            <a:chOff x="5273801" y="2606040"/>
            <a:chExt cx="1644396" cy="1645920"/>
          </a:xfrm>
        </p:grpSpPr>
        <p:sp>
          <p:nvSpPr>
            <p:cNvPr id="46" name="AutoShape 23">
              <a:extLst>
                <a:ext uri="{FF2B5EF4-FFF2-40B4-BE49-F238E27FC236}">
                  <a16:creationId xmlns:a16="http://schemas.microsoft.com/office/drawing/2014/main" id="{3B51CA84-BC38-422B-8ADA-5C0D31122932}"/>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7" name="Group 46"/>
            <p:cNvGrpSpPr/>
            <p:nvPr/>
          </p:nvGrpSpPr>
          <p:grpSpPr>
            <a:xfrm>
              <a:off x="5450966" y="2805303"/>
              <a:ext cx="1288923" cy="1200912"/>
              <a:chOff x="5450966" y="2805303"/>
              <a:chExt cx="1288923" cy="1200912"/>
            </a:xfrm>
          </p:grpSpPr>
          <p:sp>
            <p:nvSpPr>
              <p:cNvPr id="48" name="Freeform 25">
                <a:extLst>
                  <a:ext uri="{FF2B5EF4-FFF2-40B4-BE49-F238E27FC236}">
                    <a16:creationId xmlns:a16="http://schemas.microsoft.com/office/drawing/2014/main" id="{E9905D5D-B4F3-402C-A5B3-BEE51804C009}"/>
                  </a:ext>
                </a:extLst>
              </p:cNvPr>
              <p:cNvSpPr>
                <a:spLocks noEditPoints="1"/>
              </p:cNvSpPr>
              <p:nvPr/>
            </p:nvSpPr>
            <p:spPr bwMode="auto">
              <a:xfrm>
                <a:off x="5450966" y="3319653"/>
                <a:ext cx="1288923" cy="686562"/>
              </a:xfrm>
              <a:custGeom>
                <a:avLst/>
                <a:gdLst>
                  <a:gd name="T0" fmla="*/ 477 w 1806"/>
                  <a:gd name="T1" fmla="*/ 24 h 961"/>
                  <a:gd name="T2" fmla="*/ 523 w 1806"/>
                  <a:gd name="T3" fmla="*/ 77 h 961"/>
                  <a:gd name="T4" fmla="*/ 533 w 1806"/>
                  <a:gd name="T5" fmla="*/ 89 h 961"/>
                  <a:gd name="T6" fmla="*/ 677 w 1806"/>
                  <a:gd name="T7" fmla="*/ 391 h 961"/>
                  <a:gd name="T8" fmla="*/ 903 w 1806"/>
                  <a:gd name="T9" fmla="*/ 504 h 961"/>
                  <a:gd name="T10" fmla="*/ 1129 w 1806"/>
                  <a:gd name="T11" fmla="*/ 391 h 961"/>
                  <a:gd name="T12" fmla="*/ 1272 w 1806"/>
                  <a:gd name="T13" fmla="*/ 89 h 961"/>
                  <a:gd name="T14" fmla="*/ 1283 w 1806"/>
                  <a:gd name="T15" fmla="*/ 77 h 961"/>
                  <a:gd name="T16" fmla="*/ 1329 w 1806"/>
                  <a:gd name="T17" fmla="*/ 24 h 961"/>
                  <a:gd name="T18" fmla="*/ 1380 w 1806"/>
                  <a:gd name="T19" fmla="*/ 0 h 961"/>
                  <a:gd name="T20" fmla="*/ 1380 w 1806"/>
                  <a:gd name="T21" fmla="*/ 3 h 961"/>
                  <a:gd name="T22" fmla="*/ 1310 w 1806"/>
                  <a:gd name="T23" fmla="*/ 112 h 961"/>
                  <a:gd name="T24" fmla="*/ 1167 w 1806"/>
                  <a:gd name="T25" fmla="*/ 414 h 961"/>
                  <a:gd name="T26" fmla="*/ 1167 w 1806"/>
                  <a:gd name="T27" fmla="*/ 510 h 961"/>
                  <a:gd name="T28" fmla="*/ 1123 w 1806"/>
                  <a:gd name="T29" fmla="*/ 524 h 961"/>
                  <a:gd name="T30" fmla="*/ 1123 w 1806"/>
                  <a:gd name="T31" fmla="*/ 451 h 961"/>
                  <a:gd name="T32" fmla="*/ 903 w 1806"/>
                  <a:gd name="T33" fmla="*/ 548 h 961"/>
                  <a:gd name="T34" fmla="*/ 683 w 1806"/>
                  <a:gd name="T35" fmla="*/ 452 h 961"/>
                  <a:gd name="T36" fmla="*/ 683 w 1806"/>
                  <a:gd name="T37" fmla="*/ 524 h 961"/>
                  <a:gd name="T38" fmla="*/ 639 w 1806"/>
                  <a:gd name="T39" fmla="*/ 510 h 961"/>
                  <a:gd name="T40" fmla="*/ 639 w 1806"/>
                  <a:gd name="T41" fmla="*/ 414 h 961"/>
                  <a:gd name="T42" fmla="*/ 495 w 1806"/>
                  <a:gd name="T43" fmla="*/ 112 h 961"/>
                  <a:gd name="T44" fmla="*/ 426 w 1806"/>
                  <a:gd name="T45" fmla="*/ 5 h 961"/>
                  <a:gd name="T46" fmla="*/ 426 w 1806"/>
                  <a:gd name="T47" fmla="*/ 0 h 961"/>
                  <a:gd name="T48" fmla="*/ 477 w 1806"/>
                  <a:gd name="T49" fmla="*/ 24 h 961"/>
                  <a:gd name="T50" fmla="*/ 887 w 1806"/>
                  <a:gd name="T51" fmla="*/ 757 h 961"/>
                  <a:gd name="T52" fmla="*/ 903 w 1806"/>
                  <a:gd name="T53" fmla="*/ 754 h 961"/>
                  <a:gd name="T54" fmla="*/ 919 w 1806"/>
                  <a:gd name="T55" fmla="*/ 757 h 961"/>
                  <a:gd name="T56" fmla="*/ 1016 w 1806"/>
                  <a:gd name="T57" fmla="*/ 679 h 961"/>
                  <a:gd name="T58" fmla="*/ 993 w 1806"/>
                  <a:gd name="T59" fmla="*/ 679 h 961"/>
                  <a:gd name="T60" fmla="*/ 908 w 1806"/>
                  <a:gd name="T61" fmla="*/ 684 h 961"/>
                  <a:gd name="T62" fmla="*/ 898 w 1806"/>
                  <a:gd name="T63" fmla="*/ 684 h 961"/>
                  <a:gd name="T64" fmla="*/ 813 w 1806"/>
                  <a:gd name="T65" fmla="*/ 679 h 961"/>
                  <a:gd name="T66" fmla="*/ 790 w 1806"/>
                  <a:gd name="T67" fmla="*/ 679 h 961"/>
                  <a:gd name="T68" fmla="*/ 887 w 1806"/>
                  <a:gd name="T69" fmla="*/ 757 h 961"/>
                  <a:gd name="T70" fmla="*/ 1801 w 1806"/>
                  <a:gd name="T71" fmla="*/ 931 h 961"/>
                  <a:gd name="T72" fmla="*/ 1583 w 1806"/>
                  <a:gd name="T73" fmla="*/ 614 h 961"/>
                  <a:gd name="T74" fmla="*/ 1255 w 1806"/>
                  <a:gd name="T75" fmla="*/ 550 h 961"/>
                  <a:gd name="T76" fmla="*/ 1302 w 1806"/>
                  <a:gd name="T77" fmla="*/ 704 h 961"/>
                  <a:gd name="T78" fmla="*/ 1248 w 1806"/>
                  <a:gd name="T79" fmla="*/ 755 h 961"/>
                  <a:gd name="T80" fmla="*/ 1210 w 1806"/>
                  <a:gd name="T81" fmla="*/ 740 h 961"/>
                  <a:gd name="T82" fmla="*/ 1080 w 1806"/>
                  <a:gd name="T83" fmla="*/ 685 h 961"/>
                  <a:gd name="T84" fmla="*/ 951 w 1806"/>
                  <a:gd name="T85" fmla="*/ 788 h 961"/>
                  <a:gd name="T86" fmla="*/ 954 w 1806"/>
                  <a:gd name="T87" fmla="*/ 805 h 961"/>
                  <a:gd name="T88" fmla="*/ 954 w 1806"/>
                  <a:gd name="T89" fmla="*/ 915 h 961"/>
                  <a:gd name="T90" fmla="*/ 903 w 1806"/>
                  <a:gd name="T91" fmla="*/ 915 h 961"/>
                  <a:gd name="T92" fmla="*/ 903 w 1806"/>
                  <a:gd name="T93" fmla="*/ 856 h 961"/>
                  <a:gd name="T94" fmla="*/ 852 w 1806"/>
                  <a:gd name="T95" fmla="*/ 805 h 961"/>
                  <a:gd name="T96" fmla="*/ 855 w 1806"/>
                  <a:gd name="T97" fmla="*/ 788 h 961"/>
                  <a:gd name="T98" fmla="*/ 726 w 1806"/>
                  <a:gd name="T99" fmla="*/ 685 h 961"/>
                  <a:gd name="T100" fmla="*/ 596 w 1806"/>
                  <a:gd name="T101" fmla="*/ 740 h 961"/>
                  <a:gd name="T102" fmla="*/ 558 w 1806"/>
                  <a:gd name="T103" fmla="*/ 755 h 961"/>
                  <a:gd name="T104" fmla="*/ 558 w 1806"/>
                  <a:gd name="T105" fmla="*/ 755 h 961"/>
                  <a:gd name="T106" fmla="*/ 504 w 1806"/>
                  <a:gd name="T107" fmla="*/ 704 h 961"/>
                  <a:gd name="T108" fmla="*/ 551 w 1806"/>
                  <a:gd name="T109" fmla="*/ 550 h 961"/>
                  <a:gd name="T110" fmla="*/ 223 w 1806"/>
                  <a:gd name="T111" fmla="*/ 614 h 961"/>
                  <a:gd name="T112" fmla="*/ 5 w 1806"/>
                  <a:gd name="T113" fmla="*/ 931 h 961"/>
                  <a:gd name="T114" fmla="*/ 26 w 1806"/>
                  <a:gd name="T115" fmla="*/ 961 h 961"/>
                  <a:gd name="T116" fmla="*/ 1780 w 1806"/>
                  <a:gd name="T117" fmla="*/ 961 h 961"/>
                  <a:gd name="T118" fmla="*/ 1801 w 1806"/>
                  <a:gd name="T119" fmla="*/ 93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6" h="961">
                    <a:moveTo>
                      <a:pt x="477" y="24"/>
                    </a:moveTo>
                    <a:cubicBezTo>
                      <a:pt x="484" y="43"/>
                      <a:pt x="498" y="65"/>
                      <a:pt x="523" y="77"/>
                    </a:cubicBezTo>
                    <a:cubicBezTo>
                      <a:pt x="528" y="80"/>
                      <a:pt x="531" y="84"/>
                      <a:pt x="533" y="89"/>
                    </a:cubicBezTo>
                    <a:cubicBezTo>
                      <a:pt x="574" y="192"/>
                      <a:pt x="648" y="365"/>
                      <a:pt x="677" y="391"/>
                    </a:cubicBezTo>
                    <a:cubicBezTo>
                      <a:pt x="722" y="430"/>
                      <a:pt x="838" y="504"/>
                      <a:pt x="903" y="504"/>
                    </a:cubicBezTo>
                    <a:cubicBezTo>
                      <a:pt x="967" y="504"/>
                      <a:pt x="1084" y="430"/>
                      <a:pt x="1129" y="391"/>
                    </a:cubicBezTo>
                    <a:cubicBezTo>
                      <a:pt x="1157" y="365"/>
                      <a:pt x="1232" y="192"/>
                      <a:pt x="1272" y="89"/>
                    </a:cubicBezTo>
                    <a:cubicBezTo>
                      <a:pt x="1274" y="84"/>
                      <a:pt x="1278" y="80"/>
                      <a:pt x="1283" y="77"/>
                    </a:cubicBezTo>
                    <a:cubicBezTo>
                      <a:pt x="1308" y="65"/>
                      <a:pt x="1322" y="44"/>
                      <a:pt x="1329" y="24"/>
                    </a:cubicBezTo>
                    <a:cubicBezTo>
                      <a:pt x="1380" y="0"/>
                      <a:pt x="1380" y="0"/>
                      <a:pt x="1380" y="0"/>
                    </a:cubicBezTo>
                    <a:cubicBezTo>
                      <a:pt x="1380" y="1"/>
                      <a:pt x="1380" y="2"/>
                      <a:pt x="1380" y="3"/>
                    </a:cubicBezTo>
                    <a:cubicBezTo>
                      <a:pt x="1376" y="26"/>
                      <a:pt x="1363" y="82"/>
                      <a:pt x="1310" y="112"/>
                    </a:cubicBezTo>
                    <a:cubicBezTo>
                      <a:pt x="1288" y="168"/>
                      <a:pt x="1212" y="358"/>
                      <a:pt x="1167" y="414"/>
                    </a:cubicBezTo>
                    <a:cubicBezTo>
                      <a:pt x="1167" y="510"/>
                      <a:pt x="1167" y="510"/>
                      <a:pt x="1167" y="510"/>
                    </a:cubicBezTo>
                    <a:cubicBezTo>
                      <a:pt x="1123" y="524"/>
                      <a:pt x="1123" y="524"/>
                      <a:pt x="1123" y="524"/>
                    </a:cubicBezTo>
                    <a:cubicBezTo>
                      <a:pt x="1123" y="451"/>
                      <a:pt x="1123" y="451"/>
                      <a:pt x="1123" y="451"/>
                    </a:cubicBezTo>
                    <a:cubicBezTo>
                      <a:pt x="1064" y="494"/>
                      <a:pt x="968" y="548"/>
                      <a:pt x="903" y="548"/>
                    </a:cubicBezTo>
                    <a:cubicBezTo>
                      <a:pt x="838" y="548"/>
                      <a:pt x="742" y="494"/>
                      <a:pt x="683" y="452"/>
                    </a:cubicBezTo>
                    <a:cubicBezTo>
                      <a:pt x="683" y="524"/>
                      <a:pt x="683" y="524"/>
                      <a:pt x="683" y="524"/>
                    </a:cubicBezTo>
                    <a:cubicBezTo>
                      <a:pt x="639" y="510"/>
                      <a:pt x="639" y="510"/>
                      <a:pt x="639" y="510"/>
                    </a:cubicBezTo>
                    <a:cubicBezTo>
                      <a:pt x="639" y="414"/>
                      <a:pt x="639" y="414"/>
                      <a:pt x="639" y="414"/>
                    </a:cubicBezTo>
                    <a:cubicBezTo>
                      <a:pt x="594" y="359"/>
                      <a:pt x="517" y="168"/>
                      <a:pt x="495" y="112"/>
                    </a:cubicBezTo>
                    <a:cubicBezTo>
                      <a:pt x="446" y="83"/>
                      <a:pt x="431" y="33"/>
                      <a:pt x="426" y="5"/>
                    </a:cubicBezTo>
                    <a:cubicBezTo>
                      <a:pt x="426" y="4"/>
                      <a:pt x="426" y="2"/>
                      <a:pt x="426" y="0"/>
                    </a:cubicBezTo>
                    <a:lnTo>
                      <a:pt x="477" y="24"/>
                    </a:lnTo>
                    <a:close/>
                    <a:moveTo>
                      <a:pt x="887" y="757"/>
                    </a:moveTo>
                    <a:cubicBezTo>
                      <a:pt x="892" y="755"/>
                      <a:pt x="897" y="754"/>
                      <a:pt x="903" y="754"/>
                    </a:cubicBezTo>
                    <a:cubicBezTo>
                      <a:pt x="909" y="754"/>
                      <a:pt x="914" y="755"/>
                      <a:pt x="919" y="757"/>
                    </a:cubicBezTo>
                    <a:cubicBezTo>
                      <a:pt x="1016" y="679"/>
                      <a:pt x="1016" y="679"/>
                      <a:pt x="1016" y="679"/>
                    </a:cubicBezTo>
                    <a:cubicBezTo>
                      <a:pt x="1009" y="679"/>
                      <a:pt x="1001" y="679"/>
                      <a:pt x="993" y="679"/>
                    </a:cubicBezTo>
                    <a:cubicBezTo>
                      <a:pt x="966" y="679"/>
                      <a:pt x="938" y="681"/>
                      <a:pt x="908" y="684"/>
                    </a:cubicBezTo>
                    <a:cubicBezTo>
                      <a:pt x="898" y="684"/>
                      <a:pt x="898" y="684"/>
                      <a:pt x="898" y="684"/>
                    </a:cubicBezTo>
                    <a:cubicBezTo>
                      <a:pt x="868" y="681"/>
                      <a:pt x="840" y="679"/>
                      <a:pt x="813" y="679"/>
                    </a:cubicBezTo>
                    <a:cubicBezTo>
                      <a:pt x="805" y="679"/>
                      <a:pt x="797" y="679"/>
                      <a:pt x="790" y="679"/>
                    </a:cubicBezTo>
                    <a:lnTo>
                      <a:pt x="887" y="757"/>
                    </a:lnTo>
                    <a:close/>
                    <a:moveTo>
                      <a:pt x="1801" y="931"/>
                    </a:moveTo>
                    <a:cubicBezTo>
                      <a:pt x="1773" y="857"/>
                      <a:pt x="1693" y="664"/>
                      <a:pt x="1583" y="614"/>
                    </a:cubicBezTo>
                    <a:cubicBezTo>
                      <a:pt x="1489" y="570"/>
                      <a:pt x="1338" y="555"/>
                      <a:pt x="1255" y="550"/>
                    </a:cubicBezTo>
                    <a:cubicBezTo>
                      <a:pt x="1279" y="582"/>
                      <a:pt x="1305" y="635"/>
                      <a:pt x="1302" y="704"/>
                    </a:cubicBezTo>
                    <a:cubicBezTo>
                      <a:pt x="1300" y="732"/>
                      <a:pt x="1276" y="755"/>
                      <a:pt x="1248" y="755"/>
                    </a:cubicBezTo>
                    <a:cubicBezTo>
                      <a:pt x="1234" y="755"/>
                      <a:pt x="1220" y="749"/>
                      <a:pt x="1210" y="740"/>
                    </a:cubicBezTo>
                    <a:cubicBezTo>
                      <a:pt x="1196" y="726"/>
                      <a:pt x="1158" y="698"/>
                      <a:pt x="1080" y="685"/>
                    </a:cubicBezTo>
                    <a:cubicBezTo>
                      <a:pt x="951" y="788"/>
                      <a:pt x="951" y="788"/>
                      <a:pt x="951" y="788"/>
                    </a:cubicBezTo>
                    <a:cubicBezTo>
                      <a:pt x="953" y="793"/>
                      <a:pt x="954" y="799"/>
                      <a:pt x="954" y="805"/>
                    </a:cubicBezTo>
                    <a:cubicBezTo>
                      <a:pt x="954" y="915"/>
                      <a:pt x="954" y="915"/>
                      <a:pt x="954" y="915"/>
                    </a:cubicBezTo>
                    <a:cubicBezTo>
                      <a:pt x="903" y="915"/>
                      <a:pt x="903" y="915"/>
                      <a:pt x="903" y="915"/>
                    </a:cubicBezTo>
                    <a:cubicBezTo>
                      <a:pt x="903" y="856"/>
                      <a:pt x="903" y="856"/>
                      <a:pt x="903" y="856"/>
                    </a:cubicBezTo>
                    <a:cubicBezTo>
                      <a:pt x="875" y="856"/>
                      <a:pt x="852" y="833"/>
                      <a:pt x="852" y="805"/>
                    </a:cubicBezTo>
                    <a:cubicBezTo>
                      <a:pt x="852" y="799"/>
                      <a:pt x="853" y="793"/>
                      <a:pt x="855" y="788"/>
                    </a:cubicBezTo>
                    <a:cubicBezTo>
                      <a:pt x="726" y="685"/>
                      <a:pt x="726" y="685"/>
                      <a:pt x="726" y="685"/>
                    </a:cubicBezTo>
                    <a:cubicBezTo>
                      <a:pt x="648" y="698"/>
                      <a:pt x="610" y="726"/>
                      <a:pt x="596" y="740"/>
                    </a:cubicBezTo>
                    <a:cubicBezTo>
                      <a:pt x="586" y="749"/>
                      <a:pt x="572" y="755"/>
                      <a:pt x="558" y="755"/>
                    </a:cubicBezTo>
                    <a:cubicBezTo>
                      <a:pt x="558" y="755"/>
                      <a:pt x="558" y="755"/>
                      <a:pt x="558" y="755"/>
                    </a:cubicBezTo>
                    <a:cubicBezTo>
                      <a:pt x="530" y="755"/>
                      <a:pt x="506" y="732"/>
                      <a:pt x="504" y="704"/>
                    </a:cubicBezTo>
                    <a:cubicBezTo>
                      <a:pt x="501" y="635"/>
                      <a:pt x="527" y="582"/>
                      <a:pt x="551" y="550"/>
                    </a:cubicBezTo>
                    <a:cubicBezTo>
                      <a:pt x="468" y="555"/>
                      <a:pt x="317" y="570"/>
                      <a:pt x="223" y="614"/>
                    </a:cubicBezTo>
                    <a:cubicBezTo>
                      <a:pt x="113" y="664"/>
                      <a:pt x="33" y="857"/>
                      <a:pt x="5" y="931"/>
                    </a:cubicBezTo>
                    <a:cubicBezTo>
                      <a:pt x="0" y="945"/>
                      <a:pt x="10" y="961"/>
                      <a:pt x="26" y="961"/>
                    </a:cubicBezTo>
                    <a:cubicBezTo>
                      <a:pt x="1780" y="961"/>
                      <a:pt x="1780" y="961"/>
                      <a:pt x="1780" y="961"/>
                    </a:cubicBezTo>
                    <a:cubicBezTo>
                      <a:pt x="1796" y="961"/>
                      <a:pt x="1806" y="945"/>
                      <a:pt x="1801" y="9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6">
                <a:extLst>
                  <a:ext uri="{FF2B5EF4-FFF2-40B4-BE49-F238E27FC236}">
                    <a16:creationId xmlns:a16="http://schemas.microsoft.com/office/drawing/2014/main" id="{6D9D5702-A900-404B-BF43-FB915C5F527F}"/>
                  </a:ext>
                </a:extLst>
              </p:cNvPr>
              <p:cNvSpPr>
                <a:spLocks noEditPoints="1"/>
              </p:cNvSpPr>
              <p:nvPr/>
            </p:nvSpPr>
            <p:spPr bwMode="auto">
              <a:xfrm>
                <a:off x="5757671" y="2805303"/>
                <a:ext cx="675132" cy="1024509"/>
              </a:xfrm>
              <a:custGeom>
                <a:avLst/>
                <a:gdLst>
                  <a:gd name="T0" fmla="*/ 928 w 946"/>
                  <a:gd name="T1" fmla="*/ 647 h 1434"/>
                  <a:gd name="T2" fmla="*/ 928 w 946"/>
                  <a:gd name="T3" fmla="*/ 646 h 1434"/>
                  <a:gd name="T4" fmla="*/ 874 w 946"/>
                  <a:gd name="T5" fmla="*/ 722 h 1434"/>
                  <a:gd name="T6" fmla="*/ 840 w 946"/>
                  <a:gd name="T7" fmla="*/ 722 h 1434"/>
                  <a:gd name="T8" fmla="*/ 835 w 946"/>
                  <a:gd name="T9" fmla="*/ 366 h 1434"/>
                  <a:gd name="T10" fmla="*/ 214 w 946"/>
                  <a:gd name="T11" fmla="*/ 388 h 1434"/>
                  <a:gd name="T12" fmla="*/ 98 w 946"/>
                  <a:gd name="T13" fmla="*/ 716 h 1434"/>
                  <a:gd name="T14" fmla="*/ 67 w 946"/>
                  <a:gd name="T15" fmla="*/ 713 h 1434"/>
                  <a:gd name="T16" fmla="*/ 20 w 946"/>
                  <a:gd name="T17" fmla="*/ 653 h 1434"/>
                  <a:gd name="T18" fmla="*/ 20 w 946"/>
                  <a:gd name="T19" fmla="*/ 652 h 1434"/>
                  <a:gd name="T20" fmla="*/ 1 w 946"/>
                  <a:gd name="T21" fmla="*/ 483 h 1434"/>
                  <a:gd name="T22" fmla="*/ 473 w 946"/>
                  <a:gd name="T23" fmla="*/ 0 h 1434"/>
                  <a:gd name="T24" fmla="*/ 945 w 946"/>
                  <a:gd name="T25" fmla="*/ 483 h 1434"/>
                  <a:gd name="T26" fmla="*/ 928 w 946"/>
                  <a:gd name="T27" fmla="*/ 647 h 1434"/>
                  <a:gd name="T28" fmla="*/ 473 w 946"/>
                  <a:gd name="T29" fmla="*/ 1360 h 1434"/>
                  <a:gd name="T30" fmla="*/ 181 w 946"/>
                  <a:gd name="T31" fmla="*/ 1268 h 1434"/>
                  <a:gd name="T32" fmla="*/ 118 w 946"/>
                  <a:gd name="T33" fmla="*/ 1421 h 1434"/>
                  <a:gd name="T34" fmla="*/ 135 w 946"/>
                  <a:gd name="T35" fmla="*/ 1428 h 1434"/>
                  <a:gd name="T36" fmla="*/ 473 w 946"/>
                  <a:gd name="T37" fmla="*/ 1360 h 1434"/>
                  <a:gd name="T38" fmla="*/ 811 w 946"/>
                  <a:gd name="T39" fmla="*/ 1428 h 1434"/>
                  <a:gd name="T40" fmla="*/ 828 w 946"/>
                  <a:gd name="T41" fmla="*/ 1421 h 1434"/>
                  <a:gd name="T42" fmla="*/ 765 w 946"/>
                  <a:gd name="T43" fmla="*/ 1268 h 1434"/>
                  <a:gd name="T44" fmla="*/ 473 w 946"/>
                  <a:gd name="T45" fmla="*/ 1360 h 1434"/>
                  <a:gd name="T46" fmla="*/ 811 w 946"/>
                  <a:gd name="T47" fmla="*/ 1428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1434">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473" y="1360"/>
                    </a:moveTo>
                    <a:cubicBezTo>
                      <a:pt x="181" y="1268"/>
                      <a:pt x="181" y="1268"/>
                      <a:pt x="181" y="1268"/>
                    </a:cubicBezTo>
                    <a:cubicBezTo>
                      <a:pt x="181" y="1268"/>
                      <a:pt x="113" y="1326"/>
                      <a:pt x="118" y="1421"/>
                    </a:cubicBezTo>
                    <a:cubicBezTo>
                      <a:pt x="119" y="1430"/>
                      <a:pt x="129" y="1434"/>
                      <a:pt x="135" y="1428"/>
                    </a:cubicBezTo>
                    <a:cubicBezTo>
                      <a:pt x="167" y="1397"/>
                      <a:pt x="258" y="1337"/>
                      <a:pt x="473" y="1360"/>
                    </a:cubicBezTo>
                    <a:close/>
                    <a:moveTo>
                      <a:pt x="811" y="1428"/>
                    </a:moveTo>
                    <a:cubicBezTo>
                      <a:pt x="817" y="1434"/>
                      <a:pt x="827" y="1430"/>
                      <a:pt x="828" y="1421"/>
                    </a:cubicBezTo>
                    <a:cubicBezTo>
                      <a:pt x="833" y="1326"/>
                      <a:pt x="765" y="1268"/>
                      <a:pt x="765" y="1268"/>
                    </a:cubicBezTo>
                    <a:cubicBezTo>
                      <a:pt x="473" y="1360"/>
                      <a:pt x="473" y="1360"/>
                      <a:pt x="473" y="1360"/>
                    </a:cubicBezTo>
                    <a:cubicBezTo>
                      <a:pt x="688" y="1337"/>
                      <a:pt x="779" y="1397"/>
                      <a:pt x="811" y="14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0" name="Group 49"/>
          <p:cNvGrpSpPr>
            <a:grpSpLocks noChangeAspect="1"/>
          </p:cNvGrpSpPr>
          <p:nvPr/>
        </p:nvGrpSpPr>
        <p:grpSpPr>
          <a:xfrm>
            <a:off x="3228101" y="3831222"/>
            <a:ext cx="476323" cy="476765"/>
            <a:chOff x="5273801" y="2606040"/>
            <a:chExt cx="1644396" cy="1645920"/>
          </a:xfrm>
        </p:grpSpPr>
        <p:sp>
          <p:nvSpPr>
            <p:cNvPr id="51" name="AutoShape 23">
              <a:extLst>
                <a:ext uri="{FF2B5EF4-FFF2-40B4-BE49-F238E27FC236}">
                  <a16:creationId xmlns:a16="http://schemas.microsoft.com/office/drawing/2014/main" id="{3B51CA84-BC38-422B-8ADA-5C0D31122932}"/>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2" name="Group 51"/>
            <p:cNvGrpSpPr/>
            <p:nvPr/>
          </p:nvGrpSpPr>
          <p:grpSpPr>
            <a:xfrm>
              <a:off x="5450966" y="2805303"/>
              <a:ext cx="1288923" cy="1200912"/>
              <a:chOff x="5450966" y="2805303"/>
              <a:chExt cx="1288923" cy="1200912"/>
            </a:xfrm>
          </p:grpSpPr>
          <p:sp>
            <p:nvSpPr>
              <p:cNvPr id="53" name="Freeform 25">
                <a:extLst>
                  <a:ext uri="{FF2B5EF4-FFF2-40B4-BE49-F238E27FC236}">
                    <a16:creationId xmlns:a16="http://schemas.microsoft.com/office/drawing/2014/main" id="{E9905D5D-B4F3-402C-A5B3-BEE51804C009}"/>
                  </a:ext>
                </a:extLst>
              </p:cNvPr>
              <p:cNvSpPr>
                <a:spLocks noEditPoints="1"/>
              </p:cNvSpPr>
              <p:nvPr/>
            </p:nvSpPr>
            <p:spPr bwMode="auto">
              <a:xfrm>
                <a:off x="5450966" y="3319653"/>
                <a:ext cx="1288923" cy="686562"/>
              </a:xfrm>
              <a:custGeom>
                <a:avLst/>
                <a:gdLst>
                  <a:gd name="T0" fmla="*/ 477 w 1806"/>
                  <a:gd name="T1" fmla="*/ 24 h 961"/>
                  <a:gd name="T2" fmla="*/ 523 w 1806"/>
                  <a:gd name="T3" fmla="*/ 77 h 961"/>
                  <a:gd name="T4" fmla="*/ 533 w 1806"/>
                  <a:gd name="T5" fmla="*/ 89 h 961"/>
                  <a:gd name="T6" fmla="*/ 677 w 1806"/>
                  <a:gd name="T7" fmla="*/ 391 h 961"/>
                  <a:gd name="T8" fmla="*/ 903 w 1806"/>
                  <a:gd name="T9" fmla="*/ 504 h 961"/>
                  <a:gd name="T10" fmla="*/ 1129 w 1806"/>
                  <a:gd name="T11" fmla="*/ 391 h 961"/>
                  <a:gd name="T12" fmla="*/ 1272 w 1806"/>
                  <a:gd name="T13" fmla="*/ 89 h 961"/>
                  <a:gd name="T14" fmla="*/ 1283 w 1806"/>
                  <a:gd name="T15" fmla="*/ 77 h 961"/>
                  <a:gd name="T16" fmla="*/ 1329 w 1806"/>
                  <a:gd name="T17" fmla="*/ 24 h 961"/>
                  <a:gd name="T18" fmla="*/ 1380 w 1806"/>
                  <a:gd name="T19" fmla="*/ 0 h 961"/>
                  <a:gd name="T20" fmla="*/ 1380 w 1806"/>
                  <a:gd name="T21" fmla="*/ 3 h 961"/>
                  <a:gd name="T22" fmla="*/ 1310 w 1806"/>
                  <a:gd name="T23" fmla="*/ 112 h 961"/>
                  <a:gd name="T24" fmla="*/ 1167 w 1806"/>
                  <a:gd name="T25" fmla="*/ 414 h 961"/>
                  <a:gd name="T26" fmla="*/ 1167 w 1806"/>
                  <a:gd name="T27" fmla="*/ 510 h 961"/>
                  <a:gd name="T28" fmla="*/ 1123 w 1806"/>
                  <a:gd name="T29" fmla="*/ 524 h 961"/>
                  <a:gd name="T30" fmla="*/ 1123 w 1806"/>
                  <a:gd name="T31" fmla="*/ 451 h 961"/>
                  <a:gd name="T32" fmla="*/ 903 w 1806"/>
                  <a:gd name="T33" fmla="*/ 548 h 961"/>
                  <a:gd name="T34" fmla="*/ 683 w 1806"/>
                  <a:gd name="T35" fmla="*/ 452 h 961"/>
                  <a:gd name="T36" fmla="*/ 683 w 1806"/>
                  <a:gd name="T37" fmla="*/ 524 h 961"/>
                  <a:gd name="T38" fmla="*/ 639 w 1806"/>
                  <a:gd name="T39" fmla="*/ 510 h 961"/>
                  <a:gd name="T40" fmla="*/ 639 w 1806"/>
                  <a:gd name="T41" fmla="*/ 414 h 961"/>
                  <a:gd name="T42" fmla="*/ 495 w 1806"/>
                  <a:gd name="T43" fmla="*/ 112 h 961"/>
                  <a:gd name="T44" fmla="*/ 426 w 1806"/>
                  <a:gd name="T45" fmla="*/ 5 h 961"/>
                  <a:gd name="T46" fmla="*/ 426 w 1806"/>
                  <a:gd name="T47" fmla="*/ 0 h 961"/>
                  <a:gd name="T48" fmla="*/ 477 w 1806"/>
                  <a:gd name="T49" fmla="*/ 24 h 961"/>
                  <a:gd name="T50" fmla="*/ 887 w 1806"/>
                  <a:gd name="T51" fmla="*/ 757 h 961"/>
                  <a:gd name="T52" fmla="*/ 903 w 1806"/>
                  <a:gd name="T53" fmla="*/ 754 h 961"/>
                  <a:gd name="T54" fmla="*/ 919 w 1806"/>
                  <a:gd name="T55" fmla="*/ 757 h 961"/>
                  <a:gd name="T56" fmla="*/ 1016 w 1806"/>
                  <a:gd name="T57" fmla="*/ 679 h 961"/>
                  <a:gd name="T58" fmla="*/ 993 w 1806"/>
                  <a:gd name="T59" fmla="*/ 679 h 961"/>
                  <a:gd name="T60" fmla="*/ 908 w 1806"/>
                  <a:gd name="T61" fmla="*/ 684 h 961"/>
                  <a:gd name="T62" fmla="*/ 898 w 1806"/>
                  <a:gd name="T63" fmla="*/ 684 h 961"/>
                  <a:gd name="T64" fmla="*/ 813 w 1806"/>
                  <a:gd name="T65" fmla="*/ 679 h 961"/>
                  <a:gd name="T66" fmla="*/ 790 w 1806"/>
                  <a:gd name="T67" fmla="*/ 679 h 961"/>
                  <a:gd name="T68" fmla="*/ 887 w 1806"/>
                  <a:gd name="T69" fmla="*/ 757 h 961"/>
                  <a:gd name="T70" fmla="*/ 1801 w 1806"/>
                  <a:gd name="T71" fmla="*/ 931 h 961"/>
                  <a:gd name="T72" fmla="*/ 1583 w 1806"/>
                  <a:gd name="T73" fmla="*/ 614 h 961"/>
                  <a:gd name="T74" fmla="*/ 1255 w 1806"/>
                  <a:gd name="T75" fmla="*/ 550 h 961"/>
                  <a:gd name="T76" fmla="*/ 1302 w 1806"/>
                  <a:gd name="T77" fmla="*/ 704 h 961"/>
                  <a:gd name="T78" fmla="*/ 1248 w 1806"/>
                  <a:gd name="T79" fmla="*/ 755 h 961"/>
                  <a:gd name="T80" fmla="*/ 1210 w 1806"/>
                  <a:gd name="T81" fmla="*/ 740 h 961"/>
                  <a:gd name="T82" fmla="*/ 1080 w 1806"/>
                  <a:gd name="T83" fmla="*/ 685 h 961"/>
                  <a:gd name="T84" fmla="*/ 951 w 1806"/>
                  <a:gd name="T85" fmla="*/ 788 h 961"/>
                  <a:gd name="T86" fmla="*/ 954 w 1806"/>
                  <a:gd name="T87" fmla="*/ 805 h 961"/>
                  <a:gd name="T88" fmla="*/ 954 w 1806"/>
                  <a:gd name="T89" fmla="*/ 915 h 961"/>
                  <a:gd name="T90" fmla="*/ 903 w 1806"/>
                  <a:gd name="T91" fmla="*/ 915 h 961"/>
                  <a:gd name="T92" fmla="*/ 903 w 1806"/>
                  <a:gd name="T93" fmla="*/ 856 h 961"/>
                  <a:gd name="T94" fmla="*/ 852 w 1806"/>
                  <a:gd name="T95" fmla="*/ 805 h 961"/>
                  <a:gd name="T96" fmla="*/ 855 w 1806"/>
                  <a:gd name="T97" fmla="*/ 788 h 961"/>
                  <a:gd name="T98" fmla="*/ 726 w 1806"/>
                  <a:gd name="T99" fmla="*/ 685 h 961"/>
                  <a:gd name="T100" fmla="*/ 596 w 1806"/>
                  <a:gd name="T101" fmla="*/ 740 h 961"/>
                  <a:gd name="T102" fmla="*/ 558 w 1806"/>
                  <a:gd name="T103" fmla="*/ 755 h 961"/>
                  <a:gd name="T104" fmla="*/ 558 w 1806"/>
                  <a:gd name="T105" fmla="*/ 755 h 961"/>
                  <a:gd name="T106" fmla="*/ 504 w 1806"/>
                  <a:gd name="T107" fmla="*/ 704 h 961"/>
                  <a:gd name="T108" fmla="*/ 551 w 1806"/>
                  <a:gd name="T109" fmla="*/ 550 h 961"/>
                  <a:gd name="T110" fmla="*/ 223 w 1806"/>
                  <a:gd name="T111" fmla="*/ 614 h 961"/>
                  <a:gd name="T112" fmla="*/ 5 w 1806"/>
                  <a:gd name="T113" fmla="*/ 931 h 961"/>
                  <a:gd name="T114" fmla="*/ 26 w 1806"/>
                  <a:gd name="T115" fmla="*/ 961 h 961"/>
                  <a:gd name="T116" fmla="*/ 1780 w 1806"/>
                  <a:gd name="T117" fmla="*/ 961 h 961"/>
                  <a:gd name="T118" fmla="*/ 1801 w 1806"/>
                  <a:gd name="T119" fmla="*/ 93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6" h="961">
                    <a:moveTo>
                      <a:pt x="477" y="24"/>
                    </a:moveTo>
                    <a:cubicBezTo>
                      <a:pt x="484" y="43"/>
                      <a:pt x="498" y="65"/>
                      <a:pt x="523" y="77"/>
                    </a:cubicBezTo>
                    <a:cubicBezTo>
                      <a:pt x="528" y="80"/>
                      <a:pt x="531" y="84"/>
                      <a:pt x="533" y="89"/>
                    </a:cubicBezTo>
                    <a:cubicBezTo>
                      <a:pt x="574" y="192"/>
                      <a:pt x="648" y="365"/>
                      <a:pt x="677" y="391"/>
                    </a:cubicBezTo>
                    <a:cubicBezTo>
                      <a:pt x="722" y="430"/>
                      <a:pt x="838" y="504"/>
                      <a:pt x="903" y="504"/>
                    </a:cubicBezTo>
                    <a:cubicBezTo>
                      <a:pt x="967" y="504"/>
                      <a:pt x="1084" y="430"/>
                      <a:pt x="1129" y="391"/>
                    </a:cubicBezTo>
                    <a:cubicBezTo>
                      <a:pt x="1157" y="365"/>
                      <a:pt x="1232" y="192"/>
                      <a:pt x="1272" y="89"/>
                    </a:cubicBezTo>
                    <a:cubicBezTo>
                      <a:pt x="1274" y="84"/>
                      <a:pt x="1278" y="80"/>
                      <a:pt x="1283" y="77"/>
                    </a:cubicBezTo>
                    <a:cubicBezTo>
                      <a:pt x="1308" y="65"/>
                      <a:pt x="1322" y="44"/>
                      <a:pt x="1329" y="24"/>
                    </a:cubicBezTo>
                    <a:cubicBezTo>
                      <a:pt x="1380" y="0"/>
                      <a:pt x="1380" y="0"/>
                      <a:pt x="1380" y="0"/>
                    </a:cubicBezTo>
                    <a:cubicBezTo>
                      <a:pt x="1380" y="1"/>
                      <a:pt x="1380" y="2"/>
                      <a:pt x="1380" y="3"/>
                    </a:cubicBezTo>
                    <a:cubicBezTo>
                      <a:pt x="1376" y="26"/>
                      <a:pt x="1363" y="82"/>
                      <a:pt x="1310" y="112"/>
                    </a:cubicBezTo>
                    <a:cubicBezTo>
                      <a:pt x="1288" y="168"/>
                      <a:pt x="1212" y="358"/>
                      <a:pt x="1167" y="414"/>
                    </a:cubicBezTo>
                    <a:cubicBezTo>
                      <a:pt x="1167" y="510"/>
                      <a:pt x="1167" y="510"/>
                      <a:pt x="1167" y="510"/>
                    </a:cubicBezTo>
                    <a:cubicBezTo>
                      <a:pt x="1123" y="524"/>
                      <a:pt x="1123" y="524"/>
                      <a:pt x="1123" y="524"/>
                    </a:cubicBezTo>
                    <a:cubicBezTo>
                      <a:pt x="1123" y="451"/>
                      <a:pt x="1123" y="451"/>
                      <a:pt x="1123" y="451"/>
                    </a:cubicBezTo>
                    <a:cubicBezTo>
                      <a:pt x="1064" y="494"/>
                      <a:pt x="968" y="548"/>
                      <a:pt x="903" y="548"/>
                    </a:cubicBezTo>
                    <a:cubicBezTo>
                      <a:pt x="838" y="548"/>
                      <a:pt x="742" y="494"/>
                      <a:pt x="683" y="452"/>
                    </a:cubicBezTo>
                    <a:cubicBezTo>
                      <a:pt x="683" y="524"/>
                      <a:pt x="683" y="524"/>
                      <a:pt x="683" y="524"/>
                    </a:cubicBezTo>
                    <a:cubicBezTo>
                      <a:pt x="639" y="510"/>
                      <a:pt x="639" y="510"/>
                      <a:pt x="639" y="510"/>
                    </a:cubicBezTo>
                    <a:cubicBezTo>
                      <a:pt x="639" y="414"/>
                      <a:pt x="639" y="414"/>
                      <a:pt x="639" y="414"/>
                    </a:cubicBezTo>
                    <a:cubicBezTo>
                      <a:pt x="594" y="359"/>
                      <a:pt x="517" y="168"/>
                      <a:pt x="495" y="112"/>
                    </a:cubicBezTo>
                    <a:cubicBezTo>
                      <a:pt x="446" y="83"/>
                      <a:pt x="431" y="33"/>
                      <a:pt x="426" y="5"/>
                    </a:cubicBezTo>
                    <a:cubicBezTo>
                      <a:pt x="426" y="4"/>
                      <a:pt x="426" y="2"/>
                      <a:pt x="426" y="0"/>
                    </a:cubicBezTo>
                    <a:lnTo>
                      <a:pt x="477" y="24"/>
                    </a:lnTo>
                    <a:close/>
                    <a:moveTo>
                      <a:pt x="887" y="757"/>
                    </a:moveTo>
                    <a:cubicBezTo>
                      <a:pt x="892" y="755"/>
                      <a:pt x="897" y="754"/>
                      <a:pt x="903" y="754"/>
                    </a:cubicBezTo>
                    <a:cubicBezTo>
                      <a:pt x="909" y="754"/>
                      <a:pt x="914" y="755"/>
                      <a:pt x="919" y="757"/>
                    </a:cubicBezTo>
                    <a:cubicBezTo>
                      <a:pt x="1016" y="679"/>
                      <a:pt x="1016" y="679"/>
                      <a:pt x="1016" y="679"/>
                    </a:cubicBezTo>
                    <a:cubicBezTo>
                      <a:pt x="1009" y="679"/>
                      <a:pt x="1001" y="679"/>
                      <a:pt x="993" y="679"/>
                    </a:cubicBezTo>
                    <a:cubicBezTo>
                      <a:pt x="966" y="679"/>
                      <a:pt x="938" y="681"/>
                      <a:pt x="908" y="684"/>
                    </a:cubicBezTo>
                    <a:cubicBezTo>
                      <a:pt x="898" y="684"/>
                      <a:pt x="898" y="684"/>
                      <a:pt x="898" y="684"/>
                    </a:cubicBezTo>
                    <a:cubicBezTo>
                      <a:pt x="868" y="681"/>
                      <a:pt x="840" y="679"/>
                      <a:pt x="813" y="679"/>
                    </a:cubicBezTo>
                    <a:cubicBezTo>
                      <a:pt x="805" y="679"/>
                      <a:pt x="797" y="679"/>
                      <a:pt x="790" y="679"/>
                    </a:cubicBezTo>
                    <a:lnTo>
                      <a:pt x="887" y="757"/>
                    </a:lnTo>
                    <a:close/>
                    <a:moveTo>
                      <a:pt x="1801" y="931"/>
                    </a:moveTo>
                    <a:cubicBezTo>
                      <a:pt x="1773" y="857"/>
                      <a:pt x="1693" y="664"/>
                      <a:pt x="1583" y="614"/>
                    </a:cubicBezTo>
                    <a:cubicBezTo>
                      <a:pt x="1489" y="570"/>
                      <a:pt x="1338" y="555"/>
                      <a:pt x="1255" y="550"/>
                    </a:cubicBezTo>
                    <a:cubicBezTo>
                      <a:pt x="1279" y="582"/>
                      <a:pt x="1305" y="635"/>
                      <a:pt x="1302" y="704"/>
                    </a:cubicBezTo>
                    <a:cubicBezTo>
                      <a:pt x="1300" y="732"/>
                      <a:pt x="1276" y="755"/>
                      <a:pt x="1248" y="755"/>
                    </a:cubicBezTo>
                    <a:cubicBezTo>
                      <a:pt x="1234" y="755"/>
                      <a:pt x="1220" y="749"/>
                      <a:pt x="1210" y="740"/>
                    </a:cubicBezTo>
                    <a:cubicBezTo>
                      <a:pt x="1196" y="726"/>
                      <a:pt x="1158" y="698"/>
                      <a:pt x="1080" y="685"/>
                    </a:cubicBezTo>
                    <a:cubicBezTo>
                      <a:pt x="951" y="788"/>
                      <a:pt x="951" y="788"/>
                      <a:pt x="951" y="788"/>
                    </a:cubicBezTo>
                    <a:cubicBezTo>
                      <a:pt x="953" y="793"/>
                      <a:pt x="954" y="799"/>
                      <a:pt x="954" y="805"/>
                    </a:cubicBezTo>
                    <a:cubicBezTo>
                      <a:pt x="954" y="915"/>
                      <a:pt x="954" y="915"/>
                      <a:pt x="954" y="915"/>
                    </a:cubicBezTo>
                    <a:cubicBezTo>
                      <a:pt x="903" y="915"/>
                      <a:pt x="903" y="915"/>
                      <a:pt x="903" y="915"/>
                    </a:cubicBezTo>
                    <a:cubicBezTo>
                      <a:pt x="903" y="856"/>
                      <a:pt x="903" y="856"/>
                      <a:pt x="903" y="856"/>
                    </a:cubicBezTo>
                    <a:cubicBezTo>
                      <a:pt x="875" y="856"/>
                      <a:pt x="852" y="833"/>
                      <a:pt x="852" y="805"/>
                    </a:cubicBezTo>
                    <a:cubicBezTo>
                      <a:pt x="852" y="799"/>
                      <a:pt x="853" y="793"/>
                      <a:pt x="855" y="788"/>
                    </a:cubicBezTo>
                    <a:cubicBezTo>
                      <a:pt x="726" y="685"/>
                      <a:pt x="726" y="685"/>
                      <a:pt x="726" y="685"/>
                    </a:cubicBezTo>
                    <a:cubicBezTo>
                      <a:pt x="648" y="698"/>
                      <a:pt x="610" y="726"/>
                      <a:pt x="596" y="740"/>
                    </a:cubicBezTo>
                    <a:cubicBezTo>
                      <a:pt x="586" y="749"/>
                      <a:pt x="572" y="755"/>
                      <a:pt x="558" y="755"/>
                    </a:cubicBezTo>
                    <a:cubicBezTo>
                      <a:pt x="558" y="755"/>
                      <a:pt x="558" y="755"/>
                      <a:pt x="558" y="755"/>
                    </a:cubicBezTo>
                    <a:cubicBezTo>
                      <a:pt x="530" y="755"/>
                      <a:pt x="506" y="732"/>
                      <a:pt x="504" y="704"/>
                    </a:cubicBezTo>
                    <a:cubicBezTo>
                      <a:pt x="501" y="635"/>
                      <a:pt x="527" y="582"/>
                      <a:pt x="551" y="550"/>
                    </a:cubicBezTo>
                    <a:cubicBezTo>
                      <a:pt x="468" y="555"/>
                      <a:pt x="317" y="570"/>
                      <a:pt x="223" y="614"/>
                    </a:cubicBezTo>
                    <a:cubicBezTo>
                      <a:pt x="113" y="664"/>
                      <a:pt x="33" y="857"/>
                      <a:pt x="5" y="931"/>
                    </a:cubicBezTo>
                    <a:cubicBezTo>
                      <a:pt x="0" y="945"/>
                      <a:pt x="10" y="961"/>
                      <a:pt x="26" y="961"/>
                    </a:cubicBezTo>
                    <a:cubicBezTo>
                      <a:pt x="1780" y="961"/>
                      <a:pt x="1780" y="961"/>
                      <a:pt x="1780" y="961"/>
                    </a:cubicBezTo>
                    <a:cubicBezTo>
                      <a:pt x="1796" y="961"/>
                      <a:pt x="1806" y="945"/>
                      <a:pt x="1801" y="9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6">
                <a:extLst>
                  <a:ext uri="{FF2B5EF4-FFF2-40B4-BE49-F238E27FC236}">
                    <a16:creationId xmlns:a16="http://schemas.microsoft.com/office/drawing/2014/main" id="{6D9D5702-A900-404B-BF43-FB915C5F527F}"/>
                  </a:ext>
                </a:extLst>
              </p:cNvPr>
              <p:cNvSpPr>
                <a:spLocks noEditPoints="1"/>
              </p:cNvSpPr>
              <p:nvPr/>
            </p:nvSpPr>
            <p:spPr bwMode="auto">
              <a:xfrm>
                <a:off x="5757671" y="2805303"/>
                <a:ext cx="675132" cy="1024509"/>
              </a:xfrm>
              <a:custGeom>
                <a:avLst/>
                <a:gdLst>
                  <a:gd name="T0" fmla="*/ 928 w 946"/>
                  <a:gd name="T1" fmla="*/ 647 h 1434"/>
                  <a:gd name="T2" fmla="*/ 928 w 946"/>
                  <a:gd name="T3" fmla="*/ 646 h 1434"/>
                  <a:gd name="T4" fmla="*/ 874 w 946"/>
                  <a:gd name="T5" fmla="*/ 722 h 1434"/>
                  <a:gd name="T6" fmla="*/ 840 w 946"/>
                  <a:gd name="T7" fmla="*/ 722 h 1434"/>
                  <a:gd name="T8" fmla="*/ 835 w 946"/>
                  <a:gd name="T9" fmla="*/ 366 h 1434"/>
                  <a:gd name="T10" fmla="*/ 214 w 946"/>
                  <a:gd name="T11" fmla="*/ 388 h 1434"/>
                  <a:gd name="T12" fmla="*/ 98 w 946"/>
                  <a:gd name="T13" fmla="*/ 716 h 1434"/>
                  <a:gd name="T14" fmla="*/ 67 w 946"/>
                  <a:gd name="T15" fmla="*/ 713 h 1434"/>
                  <a:gd name="T16" fmla="*/ 20 w 946"/>
                  <a:gd name="T17" fmla="*/ 653 h 1434"/>
                  <a:gd name="T18" fmla="*/ 20 w 946"/>
                  <a:gd name="T19" fmla="*/ 652 h 1434"/>
                  <a:gd name="T20" fmla="*/ 1 w 946"/>
                  <a:gd name="T21" fmla="*/ 483 h 1434"/>
                  <a:gd name="T22" fmla="*/ 473 w 946"/>
                  <a:gd name="T23" fmla="*/ 0 h 1434"/>
                  <a:gd name="T24" fmla="*/ 945 w 946"/>
                  <a:gd name="T25" fmla="*/ 483 h 1434"/>
                  <a:gd name="T26" fmla="*/ 928 w 946"/>
                  <a:gd name="T27" fmla="*/ 647 h 1434"/>
                  <a:gd name="T28" fmla="*/ 473 w 946"/>
                  <a:gd name="T29" fmla="*/ 1360 h 1434"/>
                  <a:gd name="T30" fmla="*/ 181 w 946"/>
                  <a:gd name="T31" fmla="*/ 1268 h 1434"/>
                  <a:gd name="T32" fmla="*/ 118 w 946"/>
                  <a:gd name="T33" fmla="*/ 1421 h 1434"/>
                  <a:gd name="T34" fmla="*/ 135 w 946"/>
                  <a:gd name="T35" fmla="*/ 1428 h 1434"/>
                  <a:gd name="T36" fmla="*/ 473 w 946"/>
                  <a:gd name="T37" fmla="*/ 1360 h 1434"/>
                  <a:gd name="T38" fmla="*/ 811 w 946"/>
                  <a:gd name="T39" fmla="*/ 1428 h 1434"/>
                  <a:gd name="T40" fmla="*/ 828 w 946"/>
                  <a:gd name="T41" fmla="*/ 1421 h 1434"/>
                  <a:gd name="T42" fmla="*/ 765 w 946"/>
                  <a:gd name="T43" fmla="*/ 1268 h 1434"/>
                  <a:gd name="T44" fmla="*/ 473 w 946"/>
                  <a:gd name="T45" fmla="*/ 1360 h 1434"/>
                  <a:gd name="T46" fmla="*/ 811 w 946"/>
                  <a:gd name="T47" fmla="*/ 1428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1434">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473" y="1360"/>
                    </a:moveTo>
                    <a:cubicBezTo>
                      <a:pt x="181" y="1268"/>
                      <a:pt x="181" y="1268"/>
                      <a:pt x="181" y="1268"/>
                    </a:cubicBezTo>
                    <a:cubicBezTo>
                      <a:pt x="181" y="1268"/>
                      <a:pt x="113" y="1326"/>
                      <a:pt x="118" y="1421"/>
                    </a:cubicBezTo>
                    <a:cubicBezTo>
                      <a:pt x="119" y="1430"/>
                      <a:pt x="129" y="1434"/>
                      <a:pt x="135" y="1428"/>
                    </a:cubicBezTo>
                    <a:cubicBezTo>
                      <a:pt x="167" y="1397"/>
                      <a:pt x="258" y="1337"/>
                      <a:pt x="473" y="1360"/>
                    </a:cubicBezTo>
                    <a:close/>
                    <a:moveTo>
                      <a:pt x="811" y="1428"/>
                    </a:moveTo>
                    <a:cubicBezTo>
                      <a:pt x="817" y="1434"/>
                      <a:pt x="827" y="1430"/>
                      <a:pt x="828" y="1421"/>
                    </a:cubicBezTo>
                    <a:cubicBezTo>
                      <a:pt x="833" y="1326"/>
                      <a:pt x="765" y="1268"/>
                      <a:pt x="765" y="1268"/>
                    </a:cubicBezTo>
                    <a:cubicBezTo>
                      <a:pt x="473" y="1360"/>
                      <a:pt x="473" y="1360"/>
                      <a:pt x="473" y="1360"/>
                    </a:cubicBezTo>
                    <a:cubicBezTo>
                      <a:pt x="688" y="1337"/>
                      <a:pt x="779" y="1397"/>
                      <a:pt x="811" y="14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0" name="Group 59"/>
          <p:cNvGrpSpPr>
            <a:grpSpLocks noChangeAspect="1"/>
          </p:cNvGrpSpPr>
          <p:nvPr/>
        </p:nvGrpSpPr>
        <p:grpSpPr>
          <a:xfrm>
            <a:off x="8985574" y="3831222"/>
            <a:ext cx="476323" cy="476765"/>
            <a:chOff x="5273801" y="2606040"/>
            <a:chExt cx="1644396" cy="1645920"/>
          </a:xfrm>
        </p:grpSpPr>
        <p:sp>
          <p:nvSpPr>
            <p:cNvPr id="61" name="AutoShape 23">
              <a:extLst>
                <a:ext uri="{FF2B5EF4-FFF2-40B4-BE49-F238E27FC236}">
                  <a16:creationId xmlns:a16="http://schemas.microsoft.com/office/drawing/2014/main" id="{3B51CA84-BC38-422B-8ADA-5C0D31122932}"/>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2" name="Group 61"/>
            <p:cNvGrpSpPr/>
            <p:nvPr/>
          </p:nvGrpSpPr>
          <p:grpSpPr>
            <a:xfrm>
              <a:off x="5450966" y="2805303"/>
              <a:ext cx="1288923" cy="1200912"/>
              <a:chOff x="5450966" y="2805303"/>
              <a:chExt cx="1288923" cy="1200912"/>
            </a:xfrm>
          </p:grpSpPr>
          <p:sp>
            <p:nvSpPr>
              <p:cNvPr id="63" name="Freeform 25">
                <a:extLst>
                  <a:ext uri="{FF2B5EF4-FFF2-40B4-BE49-F238E27FC236}">
                    <a16:creationId xmlns:a16="http://schemas.microsoft.com/office/drawing/2014/main" id="{E9905D5D-B4F3-402C-A5B3-BEE51804C009}"/>
                  </a:ext>
                </a:extLst>
              </p:cNvPr>
              <p:cNvSpPr>
                <a:spLocks noEditPoints="1"/>
              </p:cNvSpPr>
              <p:nvPr/>
            </p:nvSpPr>
            <p:spPr bwMode="auto">
              <a:xfrm>
                <a:off x="5450966" y="3319653"/>
                <a:ext cx="1288923" cy="686562"/>
              </a:xfrm>
              <a:custGeom>
                <a:avLst/>
                <a:gdLst>
                  <a:gd name="T0" fmla="*/ 477 w 1806"/>
                  <a:gd name="T1" fmla="*/ 24 h 961"/>
                  <a:gd name="T2" fmla="*/ 523 w 1806"/>
                  <a:gd name="T3" fmla="*/ 77 h 961"/>
                  <a:gd name="T4" fmla="*/ 533 w 1806"/>
                  <a:gd name="T5" fmla="*/ 89 h 961"/>
                  <a:gd name="T6" fmla="*/ 677 w 1806"/>
                  <a:gd name="T7" fmla="*/ 391 h 961"/>
                  <a:gd name="T8" fmla="*/ 903 w 1806"/>
                  <a:gd name="T9" fmla="*/ 504 h 961"/>
                  <a:gd name="T10" fmla="*/ 1129 w 1806"/>
                  <a:gd name="T11" fmla="*/ 391 h 961"/>
                  <a:gd name="T12" fmla="*/ 1272 w 1806"/>
                  <a:gd name="T13" fmla="*/ 89 h 961"/>
                  <a:gd name="T14" fmla="*/ 1283 w 1806"/>
                  <a:gd name="T15" fmla="*/ 77 h 961"/>
                  <a:gd name="T16" fmla="*/ 1329 w 1806"/>
                  <a:gd name="T17" fmla="*/ 24 h 961"/>
                  <a:gd name="T18" fmla="*/ 1380 w 1806"/>
                  <a:gd name="T19" fmla="*/ 0 h 961"/>
                  <a:gd name="T20" fmla="*/ 1380 w 1806"/>
                  <a:gd name="T21" fmla="*/ 3 h 961"/>
                  <a:gd name="T22" fmla="*/ 1310 w 1806"/>
                  <a:gd name="T23" fmla="*/ 112 h 961"/>
                  <a:gd name="T24" fmla="*/ 1167 w 1806"/>
                  <a:gd name="T25" fmla="*/ 414 h 961"/>
                  <a:gd name="T26" fmla="*/ 1167 w 1806"/>
                  <a:gd name="T27" fmla="*/ 510 h 961"/>
                  <a:gd name="T28" fmla="*/ 1123 w 1806"/>
                  <a:gd name="T29" fmla="*/ 524 h 961"/>
                  <a:gd name="T30" fmla="*/ 1123 w 1806"/>
                  <a:gd name="T31" fmla="*/ 451 h 961"/>
                  <a:gd name="T32" fmla="*/ 903 w 1806"/>
                  <a:gd name="T33" fmla="*/ 548 h 961"/>
                  <a:gd name="T34" fmla="*/ 683 w 1806"/>
                  <a:gd name="T35" fmla="*/ 452 h 961"/>
                  <a:gd name="T36" fmla="*/ 683 w 1806"/>
                  <a:gd name="T37" fmla="*/ 524 h 961"/>
                  <a:gd name="T38" fmla="*/ 639 w 1806"/>
                  <a:gd name="T39" fmla="*/ 510 h 961"/>
                  <a:gd name="T40" fmla="*/ 639 w 1806"/>
                  <a:gd name="T41" fmla="*/ 414 h 961"/>
                  <a:gd name="T42" fmla="*/ 495 w 1806"/>
                  <a:gd name="T43" fmla="*/ 112 h 961"/>
                  <a:gd name="T44" fmla="*/ 426 w 1806"/>
                  <a:gd name="T45" fmla="*/ 5 h 961"/>
                  <a:gd name="T46" fmla="*/ 426 w 1806"/>
                  <a:gd name="T47" fmla="*/ 0 h 961"/>
                  <a:gd name="T48" fmla="*/ 477 w 1806"/>
                  <a:gd name="T49" fmla="*/ 24 h 961"/>
                  <a:gd name="T50" fmla="*/ 887 w 1806"/>
                  <a:gd name="T51" fmla="*/ 757 h 961"/>
                  <a:gd name="T52" fmla="*/ 903 w 1806"/>
                  <a:gd name="T53" fmla="*/ 754 h 961"/>
                  <a:gd name="T54" fmla="*/ 919 w 1806"/>
                  <a:gd name="T55" fmla="*/ 757 h 961"/>
                  <a:gd name="T56" fmla="*/ 1016 w 1806"/>
                  <a:gd name="T57" fmla="*/ 679 h 961"/>
                  <a:gd name="T58" fmla="*/ 993 w 1806"/>
                  <a:gd name="T59" fmla="*/ 679 h 961"/>
                  <a:gd name="T60" fmla="*/ 908 w 1806"/>
                  <a:gd name="T61" fmla="*/ 684 h 961"/>
                  <a:gd name="T62" fmla="*/ 898 w 1806"/>
                  <a:gd name="T63" fmla="*/ 684 h 961"/>
                  <a:gd name="T64" fmla="*/ 813 w 1806"/>
                  <a:gd name="T65" fmla="*/ 679 h 961"/>
                  <a:gd name="T66" fmla="*/ 790 w 1806"/>
                  <a:gd name="T67" fmla="*/ 679 h 961"/>
                  <a:gd name="T68" fmla="*/ 887 w 1806"/>
                  <a:gd name="T69" fmla="*/ 757 h 961"/>
                  <a:gd name="T70" fmla="*/ 1801 w 1806"/>
                  <a:gd name="T71" fmla="*/ 931 h 961"/>
                  <a:gd name="T72" fmla="*/ 1583 w 1806"/>
                  <a:gd name="T73" fmla="*/ 614 h 961"/>
                  <a:gd name="T74" fmla="*/ 1255 w 1806"/>
                  <a:gd name="T75" fmla="*/ 550 h 961"/>
                  <a:gd name="T76" fmla="*/ 1302 w 1806"/>
                  <a:gd name="T77" fmla="*/ 704 h 961"/>
                  <a:gd name="T78" fmla="*/ 1248 w 1806"/>
                  <a:gd name="T79" fmla="*/ 755 h 961"/>
                  <a:gd name="T80" fmla="*/ 1210 w 1806"/>
                  <a:gd name="T81" fmla="*/ 740 h 961"/>
                  <a:gd name="T82" fmla="*/ 1080 w 1806"/>
                  <a:gd name="T83" fmla="*/ 685 h 961"/>
                  <a:gd name="T84" fmla="*/ 951 w 1806"/>
                  <a:gd name="T85" fmla="*/ 788 h 961"/>
                  <a:gd name="T86" fmla="*/ 954 w 1806"/>
                  <a:gd name="T87" fmla="*/ 805 h 961"/>
                  <a:gd name="T88" fmla="*/ 954 w 1806"/>
                  <a:gd name="T89" fmla="*/ 915 h 961"/>
                  <a:gd name="T90" fmla="*/ 903 w 1806"/>
                  <a:gd name="T91" fmla="*/ 915 h 961"/>
                  <a:gd name="T92" fmla="*/ 903 w 1806"/>
                  <a:gd name="T93" fmla="*/ 856 h 961"/>
                  <a:gd name="T94" fmla="*/ 852 w 1806"/>
                  <a:gd name="T95" fmla="*/ 805 h 961"/>
                  <a:gd name="T96" fmla="*/ 855 w 1806"/>
                  <a:gd name="T97" fmla="*/ 788 h 961"/>
                  <a:gd name="T98" fmla="*/ 726 w 1806"/>
                  <a:gd name="T99" fmla="*/ 685 h 961"/>
                  <a:gd name="T100" fmla="*/ 596 w 1806"/>
                  <a:gd name="T101" fmla="*/ 740 h 961"/>
                  <a:gd name="T102" fmla="*/ 558 w 1806"/>
                  <a:gd name="T103" fmla="*/ 755 h 961"/>
                  <a:gd name="T104" fmla="*/ 558 w 1806"/>
                  <a:gd name="T105" fmla="*/ 755 h 961"/>
                  <a:gd name="T106" fmla="*/ 504 w 1806"/>
                  <a:gd name="T107" fmla="*/ 704 h 961"/>
                  <a:gd name="T108" fmla="*/ 551 w 1806"/>
                  <a:gd name="T109" fmla="*/ 550 h 961"/>
                  <a:gd name="T110" fmla="*/ 223 w 1806"/>
                  <a:gd name="T111" fmla="*/ 614 h 961"/>
                  <a:gd name="T112" fmla="*/ 5 w 1806"/>
                  <a:gd name="T113" fmla="*/ 931 h 961"/>
                  <a:gd name="T114" fmla="*/ 26 w 1806"/>
                  <a:gd name="T115" fmla="*/ 961 h 961"/>
                  <a:gd name="T116" fmla="*/ 1780 w 1806"/>
                  <a:gd name="T117" fmla="*/ 961 h 961"/>
                  <a:gd name="T118" fmla="*/ 1801 w 1806"/>
                  <a:gd name="T119" fmla="*/ 93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6" h="961">
                    <a:moveTo>
                      <a:pt x="477" y="24"/>
                    </a:moveTo>
                    <a:cubicBezTo>
                      <a:pt x="484" y="43"/>
                      <a:pt x="498" y="65"/>
                      <a:pt x="523" y="77"/>
                    </a:cubicBezTo>
                    <a:cubicBezTo>
                      <a:pt x="528" y="80"/>
                      <a:pt x="531" y="84"/>
                      <a:pt x="533" y="89"/>
                    </a:cubicBezTo>
                    <a:cubicBezTo>
                      <a:pt x="574" y="192"/>
                      <a:pt x="648" y="365"/>
                      <a:pt x="677" y="391"/>
                    </a:cubicBezTo>
                    <a:cubicBezTo>
                      <a:pt x="722" y="430"/>
                      <a:pt x="838" y="504"/>
                      <a:pt x="903" y="504"/>
                    </a:cubicBezTo>
                    <a:cubicBezTo>
                      <a:pt x="967" y="504"/>
                      <a:pt x="1084" y="430"/>
                      <a:pt x="1129" y="391"/>
                    </a:cubicBezTo>
                    <a:cubicBezTo>
                      <a:pt x="1157" y="365"/>
                      <a:pt x="1232" y="192"/>
                      <a:pt x="1272" y="89"/>
                    </a:cubicBezTo>
                    <a:cubicBezTo>
                      <a:pt x="1274" y="84"/>
                      <a:pt x="1278" y="80"/>
                      <a:pt x="1283" y="77"/>
                    </a:cubicBezTo>
                    <a:cubicBezTo>
                      <a:pt x="1308" y="65"/>
                      <a:pt x="1322" y="44"/>
                      <a:pt x="1329" y="24"/>
                    </a:cubicBezTo>
                    <a:cubicBezTo>
                      <a:pt x="1380" y="0"/>
                      <a:pt x="1380" y="0"/>
                      <a:pt x="1380" y="0"/>
                    </a:cubicBezTo>
                    <a:cubicBezTo>
                      <a:pt x="1380" y="1"/>
                      <a:pt x="1380" y="2"/>
                      <a:pt x="1380" y="3"/>
                    </a:cubicBezTo>
                    <a:cubicBezTo>
                      <a:pt x="1376" y="26"/>
                      <a:pt x="1363" y="82"/>
                      <a:pt x="1310" y="112"/>
                    </a:cubicBezTo>
                    <a:cubicBezTo>
                      <a:pt x="1288" y="168"/>
                      <a:pt x="1212" y="358"/>
                      <a:pt x="1167" y="414"/>
                    </a:cubicBezTo>
                    <a:cubicBezTo>
                      <a:pt x="1167" y="510"/>
                      <a:pt x="1167" y="510"/>
                      <a:pt x="1167" y="510"/>
                    </a:cubicBezTo>
                    <a:cubicBezTo>
                      <a:pt x="1123" y="524"/>
                      <a:pt x="1123" y="524"/>
                      <a:pt x="1123" y="524"/>
                    </a:cubicBezTo>
                    <a:cubicBezTo>
                      <a:pt x="1123" y="451"/>
                      <a:pt x="1123" y="451"/>
                      <a:pt x="1123" y="451"/>
                    </a:cubicBezTo>
                    <a:cubicBezTo>
                      <a:pt x="1064" y="494"/>
                      <a:pt x="968" y="548"/>
                      <a:pt x="903" y="548"/>
                    </a:cubicBezTo>
                    <a:cubicBezTo>
                      <a:pt x="838" y="548"/>
                      <a:pt x="742" y="494"/>
                      <a:pt x="683" y="452"/>
                    </a:cubicBezTo>
                    <a:cubicBezTo>
                      <a:pt x="683" y="524"/>
                      <a:pt x="683" y="524"/>
                      <a:pt x="683" y="524"/>
                    </a:cubicBezTo>
                    <a:cubicBezTo>
                      <a:pt x="639" y="510"/>
                      <a:pt x="639" y="510"/>
                      <a:pt x="639" y="510"/>
                    </a:cubicBezTo>
                    <a:cubicBezTo>
                      <a:pt x="639" y="414"/>
                      <a:pt x="639" y="414"/>
                      <a:pt x="639" y="414"/>
                    </a:cubicBezTo>
                    <a:cubicBezTo>
                      <a:pt x="594" y="359"/>
                      <a:pt x="517" y="168"/>
                      <a:pt x="495" y="112"/>
                    </a:cubicBezTo>
                    <a:cubicBezTo>
                      <a:pt x="446" y="83"/>
                      <a:pt x="431" y="33"/>
                      <a:pt x="426" y="5"/>
                    </a:cubicBezTo>
                    <a:cubicBezTo>
                      <a:pt x="426" y="4"/>
                      <a:pt x="426" y="2"/>
                      <a:pt x="426" y="0"/>
                    </a:cubicBezTo>
                    <a:lnTo>
                      <a:pt x="477" y="24"/>
                    </a:lnTo>
                    <a:close/>
                    <a:moveTo>
                      <a:pt x="887" y="757"/>
                    </a:moveTo>
                    <a:cubicBezTo>
                      <a:pt x="892" y="755"/>
                      <a:pt x="897" y="754"/>
                      <a:pt x="903" y="754"/>
                    </a:cubicBezTo>
                    <a:cubicBezTo>
                      <a:pt x="909" y="754"/>
                      <a:pt x="914" y="755"/>
                      <a:pt x="919" y="757"/>
                    </a:cubicBezTo>
                    <a:cubicBezTo>
                      <a:pt x="1016" y="679"/>
                      <a:pt x="1016" y="679"/>
                      <a:pt x="1016" y="679"/>
                    </a:cubicBezTo>
                    <a:cubicBezTo>
                      <a:pt x="1009" y="679"/>
                      <a:pt x="1001" y="679"/>
                      <a:pt x="993" y="679"/>
                    </a:cubicBezTo>
                    <a:cubicBezTo>
                      <a:pt x="966" y="679"/>
                      <a:pt x="938" y="681"/>
                      <a:pt x="908" y="684"/>
                    </a:cubicBezTo>
                    <a:cubicBezTo>
                      <a:pt x="898" y="684"/>
                      <a:pt x="898" y="684"/>
                      <a:pt x="898" y="684"/>
                    </a:cubicBezTo>
                    <a:cubicBezTo>
                      <a:pt x="868" y="681"/>
                      <a:pt x="840" y="679"/>
                      <a:pt x="813" y="679"/>
                    </a:cubicBezTo>
                    <a:cubicBezTo>
                      <a:pt x="805" y="679"/>
                      <a:pt x="797" y="679"/>
                      <a:pt x="790" y="679"/>
                    </a:cubicBezTo>
                    <a:lnTo>
                      <a:pt x="887" y="757"/>
                    </a:lnTo>
                    <a:close/>
                    <a:moveTo>
                      <a:pt x="1801" y="931"/>
                    </a:moveTo>
                    <a:cubicBezTo>
                      <a:pt x="1773" y="857"/>
                      <a:pt x="1693" y="664"/>
                      <a:pt x="1583" y="614"/>
                    </a:cubicBezTo>
                    <a:cubicBezTo>
                      <a:pt x="1489" y="570"/>
                      <a:pt x="1338" y="555"/>
                      <a:pt x="1255" y="550"/>
                    </a:cubicBezTo>
                    <a:cubicBezTo>
                      <a:pt x="1279" y="582"/>
                      <a:pt x="1305" y="635"/>
                      <a:pt x="1302" y="704"/>
                    </a:cubicBezTo>
                    <a:cubicBezTo>
                      <a:pt x="1300" y="732"/>
                      <a:pt x="1276" y="755"/>
                      <a:pt x="1248" y="755"/>
                    </a:cubicBezTo>
                    <a:cubicBezTo>
                      <a:pt x="1234" y="755"/>
                      <a:pt x="1220" y="749"/>
                      <a:pt x="1210" y="740"/>
                    </a:cubicBezTo>
                    <a:cubicBezTo>
                      <a:pt x="1196" y="726"/>
                      <a:pt x="1158" y="698"/>
                      <a:pt x="1080" y="685"/>
                    </a:cubicBezTo>
                    <a:cubicBezTo>
                      <a:pt x="951" y="788"/>
                      <a:pt x="951" y="788"/>
                      <a:pt x="951" y="788"/>
                    </a:cubicBezTo>
                    <a:cubicBezTo>
                      <a:pt x="953" y="793"/>
                      <a:pt x="954" y="799"/>
                      <a:pt x="954" y="805"/>
                    </a:cubicBezTo>
                    <a:cubicBezTo>
                      <a:pt x="954" y="915"/>
                      <a:pt x="954" y="915"/>
                      <a:pt x="954" y="915"/>
                    </a:cubicBezTo>
                    <a:cubicBezTo>
                      <a:pt x="903" y="915"/>
                      <a:pt x="903" y="915"/>
                      <a:pt x="903" y="915"/>
                    </a:cubicBezTo>
                    <a:cubicBezTo>
                      <a:pt x="903" y="856"/>
                      <a:pt x="903" y="856"/>
                      <a:pt x="903" y="856"/>
                    </a:cubicBezTo>
                    <a:cubicBezTo>
                      <a:pt x="875" y="856"/>
                      <a:pt x="852" y="833"/>
                      <a:pt x="852" y="805"/>
                    </a:cubicBezTo>
                    <a:cubicBezTo>
                      <a:pt x="852" y="799"/>
                      <a:pt x="853" y="793"/>
                      <a:pt x="855" y="788"/>
                    </a:cubicBezTo>
                    <a:cubicBezTo>
                      <a:pt x="726" y="685"/>
                      <a:pt x="726" y="685"/>
                      <a:pt x="726" y="685"/>
                    </a:cubicBezTo>
                    <a:cubicBezTo>
                      <a:pt x="648" y="698"/>
                      <a:pt x="610" y="726"/>
                      <a:pt x="596" y="740"/>
                    </a:cubicBezTo>
                    <a:cubicBezTo>
                      <a:pt x="586" y="749"/>
                      <a:pt x="572" y="755"/>
                      <a:pt x="558" y="755"/>
                    </a:cubicBezTo>
                    <a:cubicBezTo>
                      <a:pt x="558" y="755"/>
                      <a:pt x="558" y="755"/>
                      <a:pt x="558" y="755"/>
                    </a:cubicBezTo>
                    <a:cubicBezTo>
                      <a:pt x="530" y="755"/>
                      <a:pt x="506" y="732"/>
                      <a:pt x="504" y="704"/>
                    </a:cubicBezTo>
                    <a:cubicBezTo>
                      <a:pt x="501" y="635"/>
                      <a:pt x="527" y="582"/>
                      <a:pt x="551" y="550"/>
                    </a:cubicBezTo>
                    <a:cubicBezTo>
                      <a:pt x="468" y="555"/>
                      <a:pt x="317" y="570"/>
                      <a:pt x="223" y="614"/>
                    </a:cubicBezTo>
                    <a:cubicBezTo>
                      <a:pt x="113" y="664"/>
                      <a:pt x="33" y="857"/>
                      <a:pt x="5" y="931"/>
                    </a:cubicBezTo>
                    <a:cubicBezTo>
                      <a:pt x="0" y="945"/>
                      <a:pt x="10" y="961"/>
                      <a:pt x="26" y="961"/>
                    </a:cubicBezTo>
                    <a:cubicBezTo>
                      <a:pt x="1780" y="961"/>
                      <a:pt x="1780" y="961"/>
                      <a:pt x="1780" y="961"/>
                    </a:cubicBezTo>
                    <a:cubicBezTo>
                      <a:pt x="1796" y="961"/>
                      <a:pt x="1806" y="945"/>
                      <a:pt x="1801" y="9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6">
                <a:extLst>
                  <a:ext uri="{FF2B5EF4-FFF2-40B4-BE49-F238E27FC236}">
                    <a16:creationId xmlns:a16="http://schemas.microsoft.com/office/drawing/2014/main" id="{6D9D5702-A900-404B-BF43-FB915C5F527F}"/>
                  </a:ext>
                </a:extLst>
              </p:cNvPr>
              <p:cNvSpPr>
                <a:spLocks noEditPoints="1"/>
              </p:cNvSpPr>
              <p:nvPr/>
            </p:nvSpPr>
            <p:spPr bwMode="auto">
              <a:xfrm>
                <a:off x="5757671" y="2805303"/>
                <a:ext cx="675132" cy="1024509"/>
              </a:xfrm>
              <a:custGeom>
                <a:avLst/>
                <a:gdLst>
                  <a:gd name="T0" fmla="*/ 928 w 946"/>
                  <a:gd name="T1" fmla="*/ 647 h 1434"/>
                  <a:gd name="T2" fmla="*/ 928 w 946"/>
                  <a:gd name="T3" fmla="*/ 646 h 1434"/>
                  <a:gd name="T4" fmla="*/ 874 w 946"/>
                  <a:gd name="T5" fmla="*/ 722 h 1434"/>
                  <a:gd name="T6" fmla="*/ 840 w 946"/>
                  <a:gd name="T7" fmla="*/ 722 h 1434"/>
                  <a:gd name="T8" fmla="*/ 835 w 946"/>
                  <a:gd name="T9" fmla="*/ 366 h 1434"/>
                  <a:gd name="T10" fmla="*/ 214 w 946"/>
                  <a:gd name="T11" fmla="*/ 388 h 1434"/>
                  <a:gd name="T12" fmla="*/ 98 w 946"/>
                  <a:gd name="T13" fmla="*/ 716 h 1434"/>
                  <a:gd name="T14" fmla="*/ 67 w 946"/>
                  <a:gd name="T15" fmla="*/ 713 h 1434"/>
                  <a:gd name="T16" fmla="*/ 20 w 946"/>
                  <a:gd name="T17" fmla="*/ 653 h 1434"/>
                  <a:gd name="T18" fmla="*/ 20 w 946"/>
                  <a:gd name="T19" fmla="*/ 652 h 1434"/>
                  <a:gd name="T20" fmla="*/ 1 w 946"/>
                  <a:gd name="T21" fmla="*/ 483 h 1434"/>
                  <a:gd name="T22" fmla="*/ 473 w 946"/>
                  <a:gd name="T23" fmla="*/ 0 h 1434"/>
                  <a:gd name="T24" fmla="*/ 945 w 946"/>
                  <a:gd name="T25" fmla="*/ 483 h 1434"/>
                  <a:gd name="T26" fmla="*/ 928 w 946"/>
                  <a:gd name="T27" fmla="*/ 647 h 1434"/>
                  <a:gd name="T28" fmla="*/ 473 w 946"/>
                  <a:gd name="T29" fmla="*/ 1360 h 1434"/>
                  <a:gd name="T30" fmla="*/ 181 w 946"/>
                  <a:gd name="T31" fmla="*/ 1268 h 1434"/>
                  <a:gd name="T32" fmla="*/ 118 w 946"/>
                  <a:gd name="T33" fmla="*/ 1421 h 1434"/>
                  <a:gd name="T34" fmla="*/ 135 w 946"/>
                  <a:gd name="T35" fmla="*/ 1428 h 1434"/>
                  <a:gd name="T36" fmla="*/ 473 w 946"/>
                  <a:gd name="T37" fmla="*/ 1360 h 1434"/>
                  <a:gd name="T38" fmla="*/ 811 w 946"/>
                  <a:gd name="T39" fmla="*/ 1428 h 1434"/>
                  <a:gd name="T40" fmla="*/ 828 w 946"/>
                  <a:gd name="T41" fmla="*/ 1421 h 1434"/>
                  <a:gd name="T42" fmla="*/ 765 w 946"/>
                  <a:gd name="T43" fmla="*/ 1268 h 1434"/>
                  <a:gd name="T44" fmla="*/ 473 w 946"/>
                  <a:gd name="T45" fmla="*/ 1360 h 1434"/>
                  <a:gd name="T46" fmla="*/ 811 w 946"/>
                  <a:gd name="T47" fmla="*/ 1428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1434">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473" y="1360"/>
                    </a:moveTo>
                    <a:cubicBezTo>
                      <a:pt x="181" y="1268"/>
                      <a:pt x="181" y="1268"/>
                      <a:pt x="181" y="1268"/>
                    </a:cubicBezTo>
                    <a:cubicBezTo>
                      <a:pt x="181" y="1268"/>
                      <a:pt x="113" y="1326"/>
                      <a:pt x="118" y="1421"/>
                    </a:cubicBezTo>
                    <a:cubicBezTo>
                      <a:pt x="119" y="1430"/>
                      <a:pt x="129" y="1434"/>
                      <a:pt x="135" y="1428"/>
                    </a:cubicBezTo>
                    <a:cubicBezTo>
                      <a:pt x="167" y="1397"/>
                      <a:pt x="258" y="1337"/>
                      <a:pt x="473" y="1360"/>
                    </a:cubicBezTo>
                    <a:close/>
                    <a:moveTo>
                      <a:pt x="811" y="1428"/>
                    </a:moveTo>
                    <a:cubicBezTo>
                      <a:pt x="817" y="1434"/>
                      <a:pt x="827" y="1430"/>
                      <a:pt x="828" y="1421"/>
                    </a:cubicBezTo>
                    <a:cubicBezTo>
                      <a:pt x="833" y="1326"/>
                      <a:pt x="765" y="1268"/>
                      <a:pt x="765" y="1268"/>
                    </a:cubicBezTo>
                    <a:cubicBezTo>
                      <a:pt x="473" y="1360"/>
                      <a:pt x="473" y="1360"/>
                      <a:pt x="473" y="1360"/>
                    </a:cubicBezTo>
                    <a:cubicBezTo>
                      <a:pt x="688" y="1337"/>
                      <a:pt x="779" y="1397"/>
                      <a:pt x="811" y="14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5" name="Group 64"/>
          <p:cNvGrpSpPr>
            <a:grpSpLocks noChangeAspect="1"/>
          </p:cNvGrpSpPr>
          <p:nvPr/>
        </p:nvGrpSpPr>
        <p:grpSpPr>
          <a:xfrm>
            <a:off x="536301" y="3746664"/>
            <a:ext cx="476323" cy="476765"/>
            <a:chOff x="5273801" y="2606040"/>
            <a:chExt cx="1644396" cy="1645920"/>
          </a:xfrm>
        </p:grpSpPr>
        <p:sp>
          <p:nvSpPr>
            <p:cNvPr id="66" name="AutoShape 23">
              <a:extLst>
                <a:ext uri="{FF2B5EF4-FFF2-40B4-BE49-F238E27FC236}">
                  <a16:creationId xmlns:a16="http://schemas.microsoft.com/office/drawing/2014/main" id="{3B51CA84-BC38-422B-8ADA-5C0D31122932}"/>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7" name="Group 66"/>
            <p:cNvGrpSpPr/>
            <p:nvPr/>
          </p:nvGrpSpPr>
          <p:grpSpPr>
            <a:xfrm>
              <a:off x="5450966" y="2805303"/>
              <a:ext cx="1288923" cy="1200912"/>
              <a:chOff x="5450966" y="2805303"/>
              <a:chExt cx="1288923" cy="1200912"/>
            </a:xfrm>
          </p:grpSpPr>
          <p:sp>
            <p:nvSpPr>
              <p:cNvPr id="68" name="Freeform 25">
                <a:extLst>
                  <a:ext uri="{FF2B5EF4-FFF2-40B4-BE49-F238E27FC236}">
                    <a16:creationId xmlns:a16="http://schemas.microsoft.com/office/drawing/2014/main" id="{E9905D5D-B4F3-402C-A5B3-BEE51804C009}"/>
                  </a:ext>
                </a:extLst>
              </p:cNvPr>
              <p:cNvSpPr>
                <a:spLocks noEditPoints="1"/>
              </p:cNvSpPr>
              <p:nvPr/>
            </p:nvSpPr>
            <p:spPr bwMode="auto">
              <a:xfrm>
                <a:off x="5450966" y="3319653"/>
                <a:ext cx="1288923" cy="686562"/>
              </a:xfrm>
              <a:custGeom>
                <a:avLst/>
                <a:gdLst>
                  <a:gd name="T0" fmla="*/ 477 w 1806"/>
                  <a:gd name="T1" fmla="*/ 24 h 961"/>
                  <a:gd name="T2" fmla="*/ 523 w 1806"/>
                  <a:gd name="T3" fmla="*/ 77 h 961"/>
                  <a:gd name="T4" fmla="*/ 533 w 1806"/>
                  <a:gd name="T5" fmla="*/ 89 h 961"/>
                  <a:gd name="T6" fmla="*/ 677 w 1806"/>
                  <a:gd name="T7" fmla="*/ 391 h 961"/>
                  <a:gd name="T8" fmla="*/ 903 w 1806"/>
                  <a:gd name="T9" fmla="*/ 504 h 961"/>
                  <a:gd name="T10" fmla="*/ 1129 w 1806"/>
                  <a:gd name="T11" fmla="*/ 391 h 961"/>
                  <a:gd name="T12" fmla="*/ 1272 w 1806"/>
                  <a:gd name="T13" fmla="*/ 89 h 961"/>
                  <a:gd name="T14" fmla="*/ 1283 w 1806"/>
                  <a:gd name="T15" fmla="*/ 77 h 961"/>
                  <a:gd name="T16" fmla="*/ 1329 w 1806"/>
                  <a:gd name="T17" fmla="*/ 24 h 961"/>
                  <a:gd name="T18" fmla="*/ 1380 w 1806"/>
                  <a:gd name="T19" fmla="*/ 0 h 961"/>
                  <a:gd name="T20" fmla="*/ 1380 w 1806"/>
                  <a:gd name="T21" fmla="*/ 3 h 961"/>
                  <a:gd name="T22" fmla="*/ 1310 w 1806"/>
                  <a:gd name="T23" fmla="*/ 112 h 961"/>
                  <a:gd name="T24" fmla="*/ 1167 w 1806"/>
                  <a:gd name="T25" fmla="*/ 414 h 961"/>
                  <a:gd name="T26" fmla="*/ 1167 w 1806"/>
                  <a:gd name="T27" fmla="*/ 510 h 961"/>
                  <a:gd name="T28" fmla="*/ 1123 w 1806"/>
                  <a:gd name="T29" fmla="*/ 524 h 961"/>
                  <a:gd name="T30" fmla="*/ 1123 w 1806"/>
                  <a:gd name="T31" fmla="*/ 451 h 961"/>
                  <a:gd name="T32" fmla="*/ 903 w 1806"/>
                  <a:gd name="T33" fmla="*/ 548 h 961"/>
                  <a:gd name="T34" fmla="*/ 683 w 1806"/>
                  <a:gd name="T35" fmla="*/ 452 h 961"/>
                  <a:gd name="T36" fmla="*/ 683 w 1806"/>
                  <a:gd name="T37" fmla="*/ 524 h 961"/>
                  <a:gd name="T38" fmla="*/ 639 w 1806"/>
                  <a:gd name="T39" fmla="*/ 510 h 961"/>
                  <a:gd name="T40" fmla="*/ 639 w 1806"/>
                  <a:gd name="T41" fmla="*/ 414 h 961"/>
                  <a:gd name="T42" fmla="*/ 495 w 1806"/>
                  <a:gd name="T43" fmla="*/ 112 h 961"/>
                  <a:gd name="T44" fmla="*/ 426 w 1806"/>
                  <a:gd name="T45" fmla="*/ 5 h 961"/>
                  <a:gd name="T46" fmla="*/ 426 w 1806"/>
                  <a:gd name="T47" fmla="*/ 0 h 961"/>
                  <a:gd name="T48" fmla="*/ 477 w 1806"/>
                  <a:gd name="T49" fmla="*/ 24 h 961"/>
                  <a:gd name="T50" fmla="*/ 887 w 1806"/>
                  <a:gd name="T51" fmla="*/ 757 h 961"/>
                  <a:gd name="T52" fmla="*/ 903 w 1806"/>
                  <a:gd name="T53" fmla="*/ 754 h 961"/>
                  <a:gd name="T54" fmla="*/ 919 w 1806"/>
                  <a:gd name="T55" fmla="*/ 757 h 961"/>
                  <a:gd name="T56" fmla="*/ 1016 w 1806"/>
                  <a:gd name="T57" fmla="*/ 679 h 961"/>
                  <a:gd name="T58" fmla="*/ 993 w 1806"/>
                  <a:gd name="T59" fmla="*/ 679 h 961"/>
                  <a:gd name="T60" fmla="*/ 908 w 1806"/>
                  <a:gd name="T61" fmla="*/ 684 h 961"/>
                  <a:gd name="T62" fmla="*/ 898 w 1806"/>
                  <a:gd name="T63" fmla="*/ 684 h 961"/>
                  <a:gd name="T64" fmla="*/ 813 w 1806"/>
                  <a:gd name="T65" fmla="*/ 679 h 961"/>
                  <a:gd name="T66" fmla="*/ 790 w 1806"/>
                  <a:gd name="T67" fmla="*/ 679 h 961"/>
                  <a:gd name="T68" fmla="*/ 887 w 1806"/>
                  <a:gd name="T69" fmla="*/ 757 h 961"/>
                  <a:gd name="T70" fmla="*/ 1801 w 1806"/>
                  <a:gd name="T71" fmla="*/ 931 h 961"/>
                  <a:gd name="T72" fmla="*/ 1583 w 1806"/>
                  <a:gd name="T73" fmla="*/ 614 h 961"/>
                  <a:gd name="T74" fmla="*/ 1255 w 1806"/>
                  <a:gd name="T75" fmla="*/ 550 h 961"/>
                  <a:gd name="T76" fmla="*/ 1302 w 1806"/>
                  <a:gd name="T77" fmla="*/ 704 h 961"/>
                  <a:gd name="T78" fmla="*/ 1248 w 1806"/>
                  <a:gd name="T79" fmla="*/ 755 h 961"/>
                  <a:gd name="T80" fmla="*/ 1210 w 1806"/>
                  <a:gd name="T81" fmla="*/ 740 h 961"/>
                  <a:gd name="T82" fmla="*/ 1080 w 1806"/>
                  <a:gd name="T83" fmla="*/ 685 h 961"/>
                  <a:gd name="T84" fmla="*/ 951 w 1806"/>
                  <a:gd name="T85" fmla="*/ 788 h 961"/>
                  <a:gd name="T86" fmla="*/ 954 w 1806"/>
                  <a:gd name="T87" fmla="*/ 805 h 961"/>
                  <a:gd name="T88" fmla="*/ 954 w 1806"/>
                  <a:gd name="T89" fmla="*/ 915 h 961"/>
                  <a:gd name="T90" fmla="*/ 903 w 1806"/>
                  <a:gd name="T91" fmla="*/ 915 h 961"/>
                  <a:gd name="T92" fmla="*/ 903 w 1806"/>
                  <a:gd name="T93" fmla="*/ 856 h 961"/>
                  <a:gd name="T94" fmla="*/ 852 w 1806"/>
                  <a:gd name="T95" fmla="*/ 805 h 961"/>
                  <a:gd name="T96" fmla="*/ 855 w 1806"/>
                  <a:gd name="T97" fmla="*/ 788 h 961"/>
                  <a:gd name="T98" fmla="*/ 726 w 1806"/>
                  <a:gd name="T99" fmla="*/ 685 h 961"/>
                  <a:gd name="T100" fmla="*/ 596 w 1806"/>
                  <a:gd name="T101" fmla="*/ 740 h 961"/>
                  <a:gd name="T102" fmla="*/ 558 w 1806"/>
                  <a:gd name="T103" fmla="*/ 755 h 961"/>
                  <a:gd name="T104" fmla="*/ 558 w 1806"/>
                  <a:gd name="T105" fmla="*/ 755 h 961"/>
                  <a:gd name="T106" fmla="*/ 504 w 1806"/>
                  <a:gd name="T107" fmla="*/ 704 h 961"/>
                  <a:gd name="T108" fmla="*/ 551 w 1806"/>
                  <a:gd name="T109" fmla="*/ 550 h 961"/>
                  <a:gd name="T110" fmla="*/ 223 w 1806"/>
                  <a:gd name="T111" fmla="*/ 614 h 961"/>
                  <a:gd name="T112" fmla="*/ 5 w 1806"/>
                  <a:gd name="T113" fmla="*/ 931 h 961"/>
                  <a:gd name="T114" fmla="*/ 26 w 1806"/>
                  <a:gd name="T115" fmla="*/ 961 h 961"/>
                  <a:gd name="T116" fmla="*/ 1780 w 1806"/>
                  <a:gd name="T117" fmla="*/ 961 h 961"/>
                  <a:gd name="T118" fmla="*/ 1801 w 1806"/>
                  <a:gd name="T119" fmla="*/ 93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6" h="961">
                    <a:moveTo>
                      <a:pt x="477" y="24"/>
                    </a:moveTo>
                    <a:cubicBezTo>
                      <a:pt x="484" y="43"/>
                      <a:pt x="498" y="65"/>
                      <a:pt x="523" y="77"/>
                    </a:cubicBezTo>
                    <a:cubicBezTo>
                      <a:pt x="528" y="80"/>
                      <a:pt x="531" y="84"/>
                      <a:pt x="533" y="89"/>
                    </a:cubicBezTo>
                    <a:cubicBezTo>
                      <a:pt x="574" y="192"/>
                      <a:pt x="648" y="365"/>
                      <a:pt x="677" y="391"/>
                    </a:cubicBezTo>
                    <a:cubicBezTo>
                      <a:pt x="722" y="430"/>
                      <a:pt x="838" y="504"/>
                      <a:pt x="903" y="504"/>
                    </a:cubicBezTo>
                    <a:cubicBezTo>
                      <a:pt x="967" y="504"/>
                      <a:pt x="1084" y="430"/>
                      <a:pt x="1129" y="391"/>
                    </a:cubicBezTo>
                    <a:cubicBezTo>
                      <a:pt x="1157" y="365"/>
                      <a:pt x="1232" y="192"/>
                      <a:pt x="1272" y="89"/>
                    </a:cubicBezTo>
                    <a:cubicBezTo>
                      <a:pt x="1274" y="84"/>
                      <a:pt x="1278" y="80"/>
                      <a:pt x="1283" y="77"/>
                    </a:cubicBezTo>
                    <a:cubicBezTo>
                      <a:pt x="1308" y="65"/>
                      <a:pt x="1322" y="44"/>
                      <a:pt x="1329" y="24"/>
                    </a:cubicBezTo>
                    <a:cubicBezTo>
                      <a:pt x="1380" y="0"/>
                      <a:pt x="1380" y="0"/>
                      <a:pt x="1380" y="0"/>
                    </a:cubicBezTo>
                    <a:cubicBezTo>
                      <a:pt x="1380" y="1"/>
                      <a:pt x="1380" y="2"/>
                      <a:pt x="1380" y="3"/>
                    </a:cubicBezTo>
                    <a:cubicBezTo>
                      <a:pt x="1376" y="26"/>
                      <a:pt x="1363" y="82"/>
                      <a:pt x="1310" y="112"/>
                    </a:cubicBezTo>
                    <a:cubicBezTo>
                      <a:pt x="1288" y="168"/>
                      <a:pt x="1212" y="358"/>
                      <a:pt x="1167" y="414"/>
                    </a:cubicBezTo>
                    <a:cubicBezTo>
                      <a:pt x="1167" y="510"/>
                      <a:pt x="1167" y="510"/>
                      <a:pt x="1167" y="510"/>
                    </a:cubicBezTo>
                    <a:cubicBezTo>
                      <a:pt x="1123" y="524"/>
                      <a:pt x="1123" y="524"/>
                      <a:pt x="1123" y="524"/>
                    </a:cubicBezTo>
                    <a:cubicBezTo>
                      <a:pt x="1123" y="451"/>
                      <a:pt x="1123" y="451"/>
                      <a:pt x="1123" y="451"/>
                    </a:cubicBezTo>
                    <a:cubicBezTo>
                      <a:pt x="1064" y="494"/>
                      <a:pt x="968" y="548"/>
                      <a:pt x="903" y="548"/>
                    </a:cubicBezTo>
                    <a:cubicBezTo>
                      <a:pt x="838" y="548"/>
                      <a:pt x="742" y="494"/>
                      <a:pt x="683" y="452"/>
                    </a:cubicBezTo>
                    <a:cubicBezTo>
                      <a:pt x="683" y="524"/>
                      <a:pt x="683" y="524"/>
                      <a:pt x="683" y="524"/>
                    </a:cubicBezTo>
                    <a:cubicBezTo>
                      <a:pt x="639" y="510"/>
                      <a:pt x="639" y="510"/>
                      <a:pt x="639" y="510"/>
                    </a:cubicBezTo>
                    <a:cubicBezTo>
                      <a:pt x="639" y="414"/>
                      <a:pt x="639" y="414"/>
                      <a:pt x="639" y="414"/>
                    </a:cubicBezTo>
                    <a:cubicBezTo>
                      <a:pt x="594" y="359"/>
                      <a:pt x="517" y="168"/>
                      <a:pt x="495" y="112"/>
                    </a:cubicBezTo>
                    <a:cubicBezTo>
                      <a:pt x="446" y="83"/>
                      <a:pt x="431" y="33"/>
                      <a:pt x="426" y="5"/>
                    </a:cubicBezTo>
                    <a:cubicBezTo>
                      <a:pt x="426" y="4"/>
                      <a:pt x="426" y="2"/>
                      <a:pt x="426" y="0"/>
                    </a:cubicBezTo>
                    <a:lnTo>
                      <a:pt x="477" y="24"/>
                    </a:lnTo>
                    <a:close/>
                    <a:moveTo>
                      <a:pt x="887" y="757"/>
                    </a:moveTo>
                    <a:cubicBezTo>
                      <a:pt x="892" y="755"/>
                      <a:pt x="897" y="754"/>
                      <a:pt x="903" y="754"/>
                    </a:cubicBezTo>
                    <a:cubicBezTo>
                      <a:pt x="909" y="754"/>
                      <a:pt x="914" y="755"/>
                      <a:pt x="919" y="757"/>
                    </a:cubicBezTo>
                    <a:cubicBezTo>
                      <a:pt x="1016" y="679"/>
                      <a:pt x="1016" y="679"/>
                      <a:pt x="1016" y="679"/>
                    </a:cubicBezTo>
                    <a:cubicBezTo>
                      <a:pt x="1009" y="679"/>
                      <a:pt x="1001" y="679"/>
                      <a:pt x="993" y="679"/>
                    </a:cubicBezTo>
                    <a:cubicBezTo>
                      <a:pt x="966" y="679"/>
                      <a:pt x="938" y="681"/>
                      <a:pt x="908" y="684"/>
                    </a:cubicBezTo>
                    <a:cubicBezTo>
                      <a:pt x="898" y="684"/>
                      <a:pt x="898" y="684"/>
                      <a:pt x="898" y="684"/>
                    </a:cubicBezTo>
                    <a:cubicBezTo>
                      <a:pt x="868" y="681"/>
                      <a:pt x="840" y="679"/>
                      <a:pt x="813" y="679"/>
                    </a:cubicBezTo>
                    <a:cubicBezTo>
                      <a:pt x="805" y="679"/>
                      <a:pt x="797" y="679"/>
                      <a:pt x="790" y="679"/>
                    </a:cubicBezTo>
                    <a:lnTo>
                      <a:pt x="887" y="757"/>
                    </a:lnTo>
                    <a:close/>
                    <a:moveTo>
                      <a:pt x="1801" y="931"/>
                    </a:moveTo>
                    <a:cubicBezTo>
                      <a:pt x="1773" y="857"/>
                      <a:pt x="1693" y="664"/>
                      <a:pt x="1583" y="614"/>
                    </a:cubicBezTo>
                    <a:cubicBezTo>
                      <a:pt x="1489" y="570"/>
                      <a:pt x="1338" y="555"/>
                      <a:pt x="1255" y="550"/>
                    </a:cubicBezTo>
                    <a:cubicBezTo>
                      <a:pt x="1279" y="582"/>
                      <a:pt x="1305" y="635"/>
                      <a:pt x="1302" y="704"/>
                    </a:cubicBezTo>
                    <a:cubicBezTo>
                      <a:pt x="1300" y="732"/>
                      <a:pt x="1276" y="755"/>
                      <a:pt x="1248" y="755"/>
                    </a:cubicBezTo>
                    <a:cubicBezTo>
                      <a:pt x="1234" y="755"/>
                      <a:pt x="1220" y="749"/>
                      <a:pt x="1210" y="740"/>
                    </a:cubicBezTo>
                    <a:cubicBezTo>
                      <a:pt x="1196" y="726"/>
                      <a:pt x="1158" y="698"/>
                      <a:pt x="1080" y="685"/>
                    </a:cubicBezTo>
                    <a:cubicBezTo>
                      <a:pt x="951" y="788"/>
                      <a:pt x="951" y="788"/>
                      <a:pt x="951" y="788"/>
                    </a:cubicBezTo>
                    <a:cubicBezTo>
                      <a:pt x="953" y="793"/>
                      <a:pt x="954" y="799"/>
                      <a:pt x="954" y="805"/>
                    </a:cubicBezTo>
                    <a:cubicBezTo>
                      <a:pt x="954" y="915"/>
                      <a:pt x="954" y="915"/>
                      <a:pt x="954" y="915"/>
                    </a:cubicBezTo>
                    <a:cubicBezTo>
                      <a:pt x="903" y="915"/>
                      <a:pt x="903" y="915"/>
                      <a:pt x="903" y="915"/>
                    </a:cubicBezTo>
                    <a:cubicBezTo>
                      <a:pt x="903" y="856"/>
                      <a:pt x="903" y="856"/>
                      <a:pt x="903" y="856"/>
                    </a:cubicBezTo>
                    <a:cubicBezTo>
                      <a:pt x="875" y="856"/>
                      <a:pt x="852" y="833"/>
                      <a:pt x="852" y="805"/>
                    </a:cubicBezTo>
                    <a:cubicBezTo>
                      <a:pt x="852" y="799"/>
                      <a:pt x="853" y="793"/>
                      <a:pt x="855" y="788"/>
                    </a:cubicBezTo>
                    <a:cubicBezTo>
                      <a:pt x="726" y="685"/>
                      <a:pt x="726" y="685"/>
                      <a:pt x="726" y="685"/>
                    </a:cubicBezTo>
                    <a:cubicBezTo>
                      <a:pt x="648" y="698"/>
                      <a:pt x="610" y="726"/>
                      <a:pt x="596" y="740"/>
                    </a:cubicBezTo>
                    <a:cubicBezTo>
                      <a:pt x="586" y="749"/>
                      <a:pt x="572" y="755"/>
                      <a:pt x="558" y="755"/>
                    </a:cubicBezTo>
                    <a:cubicBezTo>
                      <a:pt x="558" y="755"/>
                      <a:pt x="558" y="755"/>
                      <a:pt x="558" y="755"/>
                    </a:cubicBezTo>
                    <a:cubicBezTo>
                      <a:pt x="530" y="755"/>
                      <a:pt x="506" y="732"/>
                      <a:pt x="504" y="704"/>
                    </a:cubicBezTo>
                    <a:cubicBezTo>
                      <a:pt x="501" y="635"/>
                      <a:pt x="527" y="582"/>
                      <a:pt x="551" y="550"/>
                    </a:cubicBezTo>
                    <a:cubicBezTo>
                      <a:pt x="468" y="555"/>
                      <a:pt x="317" y="570"/>
                      <a:pt x="223" y="614"/>
                    </a:cubicBezTo>
                    <a:cubicBezTo>
                      <a:pt x="113" y="664"/>
                      <a:pt x="33" y="857"/>
                      <a:pt x="5" y="931"/>
                    </a:cubicBezTo>
                    <a:cubicBezTo>
                      <a:pt x="0" y="945"/>
                      <a:pt x="10" y="961"/>
                      <a:pt x="26" y="961"/>
                    </a:cubicBezTo>
                    <a:cubicBezTo>
                      <a:pt x="1780" y="961"/>
                      <a:pt x="1780" y="961"/>
                      <a:pt x="1780" y="961"/>
                    </a:cubicBezTo>
                    <a:cubicBezTo>
                      <a:pt x="1796" y="961"/>
                      <a:pt x="1806" y="945"/>
                      <a:pt x="1801" y="9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26">
                <a:extLst>
                  <a:ext uri="{FF2B5EF4-FFF2-40B4-BE49-F238E27FC236}">
                    <a16:creationId xmlns:a16="http://schemas.microsoft.com/office/drawing/2014/main" id="{6D9D5702-A900-404B-BF43-FB915C5F527F}"/>
                  </a:ext>
                </a:extLst>
              </p:cNvPr>
              <p:cNvSpPr>
                <a:spLocks noEditPoints="1"/>
              </p:cNvSpPr>
              <p:nvPr/>
            </p:nvSpPr>
            <p:spPr bwMode="auto">
              <a:xfrm>
                <a:off x="5757671" y="2805303"/>
                <a:ext cx="675132" cy="1024509"/>
              </a:xfrm>
              <a:custGeom>
                <a:avLst/>
                <a:gdLst>
                  <a:gd name="T0" fmla="*/ 928 w 946"/>
                  <a:gd name="T1" fmla="*/ 647 h 1434"/>
                  <a:gd name="T2" fmla="*/ 928 w 946"/>
                  <a:gd name="T3" fmla="*/ 646 h 1434"/>
                  <a:gd name="T4" fmla="*/ 874 w 946"/>
                  <a:gd name="T5" fmla="*/ 722 h 1434"/>
                  <a:gd name="T6" fmla="*/ 840 w 946"/>
                  <a:gd name="T7" fmla="*/ 722 h 1434"/>
                  <a:gd name="T8" fmla="*/ 835 w 946"/>
                  <a:gd name="T9" fmla="*/ 366 h 1434"/>
                  <a:gd name="T10" fmla="*/ 214 w 946"/>
                  <a:gd name="T11" fmla="*/ 388 h 1434"/>
                  <a:gd name="T12" fmla="*/ 98 w 946"/>
                  <a:gd name="T13" fmla="*/ 716 h 1434"/>
                  <a:gd name="T14" fmla="*/ 67 w 946"/>
                  <a:gd name="T15" fmla="*/ 713 h 1434"/>
                  <a:gd name="T16" fmla="*/ 20 w 946"/>
                  <a:gd name="T17" fmla="*/ 653 h 1434"/>
                  <a:gd name="T18" fmla="*/ 20 w 946"/>
                  <a:gd name="T19" fmla="*/ 652 h 1434"/>
                  <a:gd name="T20" fmla="*/ 1 w 946"/>
                  <a:gd name="T21" fmla="*/ 483 h 1434"/>
                  <a:gd name="T22" fmla="*/ 473 w 946"/>
                  <a:gd name="T23" fmla="*/ 0 h 1434"/>
                  <a:gd name="T24" fmla="*/ 945 w 946"/>
                  <a:gd name="T25" fmla="*/ 483 h 1434"/>
                  <a:gd name="T26" fmla="*/ 928 w 946"/>
                  <a:gd name="T27" fmla="*/ 647 h 1434"/>
                  <a:gd name="T28" fmla="*/ 473 w 946"/>
                  <a:gd name="T29" fmla="*/ 1360 h 1434"/>
                  <a:gd name="T30" fmla="*/ 181 w 946"/>
                  <a:gd name="T31" fmla="*/ 1268 h 1434"/>
                  <a:gd name="T32" fmla="*/ 118 w 946"/>
                  <a:gd name="T33" fmla="*/ 1421 h 1434"/>
                  <a:gd name="T34" fmla="*/ 135 w 946"/>
                  <a:gd name="T35" fmla="*/ 1428 h 1434"/>
                  <a:gd name="T36" fmla="*/ 473 w 946"/>
                  <a:gd name="T37" fmla="*/ 1360 h 1434"/>
                  <a:gd name="T38" fmla="*/ 811 w 946"/>
                  <a:gd name="T39" fmla="*/ 1428 h 1434"/>
                  <a:gd name="T40" fmla="*/ 828 w 946"/>
                  <a:gd name="T41" fmla="*/ 1421 h 1434"/>
                  <a:gd name="T42" fmla="*/ 765 w 946"/>
                  <a:gd name="T43" fmla="*/ 1268 h 1434"/>
                  <a:gd name="T44" fmla="*/ 473 w 946"/>
                  <a:gd name="T45" fmla="*/ 1360 h 1434"/>
                  <a:gd name="T46" fmla="*/ 811 w 946"/>
                  <a:gd name="T47" fmla="*/ 1428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1434">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473" y="1360"/>
                    </a:moveTo>
                    <a:cubicBezTo>
                      <a:pt x="181" y="1268"/>
                      <a:pt x="181" y="1268"/>
                      <a:pt x="181" y="1268"/>
                    </a:cubicBezTo>
                    <a:cubicBezTo>
                      <a:pt x="181" y="1268"/>
                      <a:pt x="113" y="1326"/>
                      <a:pt x="118" y="1421"/>
                    </a:cubicBezTo>
                    <a:cubicBezTo>
                      <a:pt x="119" y="1430"/>
                      <a:pt x="129" y="1434"/>
                      <a:pt x="135" y="1428"/>
                    </a:cubicBezTo>
                    <a:cubicBezTo>
                      <a:pt x="167" y="1397"/>
                      <a:pt x="258" y="1337"/>
                      <a:pt x="473" y="1360"/>
                    </a:cubicBezTo>
                    <a:close/>
                    <a:moveTo>
                      <a:pt x="811" y="1428"/>
                    </a:moveTo>
                    <a:cubicBezTo>
                      <a:pt x="817" y="1434"/>
                      <a:pt x="827" y="1430"/>
                      <a:pt x="828" y="1421"/>
                    </a:cubicBezTo>
                    <a:cubicBezTo>
                      <a:pt x="833" y="1326"/>
                      <a:pt x="765" y="1268"/>
                      <a:pt x="765" y="1268"/>
                    </a:cubicBezTo>
                    <a:cubicBezTo>
                      <a:pt x="473" y="1360"/>
                      <a:pt x="473" y="1360"/>
                      <a:pt x="473" y="1360"/>
                    </a:cubicBezTo>
                    <a:cubicBezTo>
                      <a:pt x="688" y="1337"/>
                      <a:pt x="779" y="1397"/>
                      <a:pt x="811" y="14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0" name="Group 69"/>
          <p:cNvGrpSpPr>
            <a:grpSpLocks noChangeAspect="1"/>
          </p:cNvGrpSpPr>
          <p:nvPr/>
        </p:nvGrpSpPr>
        <p:grpSpPr>
          <a:xfrm>
            <a:off x="6149305" y="3831222"/>
            <a:ext cx="476323" cy="476765"/>
            <a:chOff x="5273801" y="2606040"/>
            <a:chExt cx="1644396" cy="1645920"/>
          </a:xfrm>
        </p:grpSpPr>
        <p:sp>
          <p:nvSpPr>
            <p:cNvPr id="71" name="AutoShape 23">
              <a:extLst>
                <a:ext uri="{FF2B5EF4-FFF2-40B4-BE49-F238E27FC236}">
                  <a16:creationId xmlns:a16="http://schemas.microsoft.com/office/drawing/2014/main" id="{3B51CA84-BC38-422B-8ADA-5C0D31122932}"/>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2" name="Group 71"/>
            <p:cNvGrpSpPr/>
            <p:nvPr/>
          </p:nvGrpSpPr>
          <p:grpSpPr>
            <a:xfrm>
              <a:off x="5450966" y="2805303"/>
              <a:ext cx="1288923" cy="1200912"/>
              <a:chOff x="5450966" y="2805303"/>
              <a:chExt cx="1288923" cy="1200912"/>
            </a:xfrm>
          </p:grpSpPr>
          <p:sp>
            <p:nvSpPr>
              <p:cNvPr id="73" name="Freeform 25">
                <a:extLst>
                  <a:ext uri="{FF2B5EF4-FFF2-40B4-BE49-F238E27FC236}">
                    <a16:creationId xmlns:a16="http://schemas.microsoft.com/office/drawing/2014/main" id="{E9905D5D-B4F3-402C-A5B3-BEE51804C009}"/>
                  </a:ext>
                </a:extLst>
              </p:cNvPr>
              <p:cNvSpPr>
                <a:spLocks noEditPoints="1"/>
              </p:cNvSpPr>
              <p:nvPr/>
            </p:nvSpPr>
            <p:spPr bwMode="auto">
              <a:xfrm>
                <a:off x="5450966" y="3319653"/>
                <a:ext cx="1288923" cy="686562"/>
              </a:xfrm>
              <a:custGeom>
                <a:avLst/>
                <a:gdLst>
                  <a:gd name="T0" fmla="*/ 477 w 1806"/>
                  <a:gd name="T1" fmla="*/ 24 h 961"/>
                  <a:gd name="T2" fmla="*/ 523 w 1806"/>
                  <a:gd name="T3" fmla="*/ 77 h 961"/>
                  <a:gd name="T4" fmla="*/ 533 w 1806"/>
                  <a:gd name="T5" fmla="*/ 89 h 961"/>
                  <a:gd name="T6" fmla="*/ 677 w 1806"/>
                  <a:gd name="T7" fmla="*/ 391 h 961"/>
                  <a:gd name="T8" fmla="*/ 903 w 1806"/>
                  <a:gd name="T9" fmla="*/ 504 h 961"/>
                  <a:gd name="T10" fmla="*/ 1129 w 1806"/>
                  <a:gd name="T11" fmla="*/ 391 h 961"/>
                  <a:gd name="T12" fmla="*/ 1272 w 1806"/>
                  <a:gd name="T13" fmla="*/ 89 h 961"/>
                  <a:gd name="T14" fmla="*/ 1283 w 1806"/>
                  <a:gd name="T15" fmla="*/ 77 h 961"/>
                  <a:gd name="T16" fmla="*/ 1329 w 1806"/>
                  <a:gd name="T17" fmla="*/ 24 h 961"/>
                  <a:gd name="T18" fmla="*/ 1380 w 1806"/>
                  <a:gd name="T19" fmla="*/ 0 h 961"/>
                  <a:gd name="T20" fmla="*/ 1380 w 1806"/>
                  <a:gd name="T21" fmla="*/ 3 h 961"/>
                  <a:gd name="T22" fmla="*/ 1310 w 1806"/>
                  <a:gd name="T23" fmla="*/ 112 h 961"/>
                  <a:gd name="T24" fmla="*/ 1167 w 1806"/>
                  <a:gd name="T25" fmla="*/ 414 h 961"/>
                  <a:gd name="T26" fmla="*/ 1167 w 1806"/>
                  <a:gd name="T27" fmla="*/ 510 h 961"/>
                  <a:gd name="T28" fmla="*/ 1123 w 1806"/>
                  <a:gd name="T29" fmla="*/ 524 h 961"/>
                  <a:gd name="T30" fmla="*/ 1123 w 1806"/>
                  <a:gd name="T31" fmla="*/ 451 h 961"/>
                  <a:gd name="T32" fmla="*/ 903 w 1806"/>
                  <a:gd name="T33" fmla="*/ 548 h 961"/>
                  <a:gd name="T34" fmla="*/ 683 w 1806"/>
                  <a:gd name="T35" fmla="*/ 452 h 961"/>
                  <a:gd name="T36" fmla="*/ 683 w 1806"/>
                  <a:gd name="T37" fmla="*/ 524 h 961"/>
                  <a:gd name="T38" fmla="*/ 639 w 1806"/>
                  <a:gd name="T39" fmla="*/ 510 h 961"/>
                  <a:gd name="T40" fmla="*/ 639 w 1806"/>
                  <a:gd name="T41" fmla="*/ 414 h 961"/>
                  <a:gd name="T42" fmla="*/ 495 w 1806"/>
                  <a:gd name="T43" fmla="*/ 112 h 961"/>
                  <a:gd name="T44" fmla="*/ 426 w 1806"/>
                  <a:gd name="T45" fmla="*/ 5 h 961"/>
                  <a:gd name="T46" fmla="*/ 426 w 1806"/>
                  <a:gd name="T47" fmla="*/ 0 h 961"/>
                  <a:gd name="T48" fmla="*/ 477 w 1806"/>
                  <a:gd name="T49" fmla="*/ 24 h 961"/>
                  <a:gd name="T50" fmla="*/ 887 w 1806"/>
                  <a:gd name="T51" fmla="*/ 757 h 961"/>
                  <a:gd name="T52" fmla="*/ 903 w 1806"/>
                  <a:gd name="T53" fmla="*/ 754 h 961"/>
                  <a:gd name="T54" fmla="*/ 919 w 1806"/>
                  <a:gd name="T55" fmla="*/ 757 h 961"/>
                  <a:gd name="T56" fmla="*/ 1016 w 1806"/>
                  <a:gd name="T57" fmla="*/ 679 h 961"/>
                  <a:gd name="T58" fmla="*/ 993 w 1806"/>
                  <a:gd name="T59" fmla="*/ 679 h 961"/>
                  <a:gd name="T60" fmla="*/ 908 w 1806"/>
                  <a:gd name="T61" fmla="*/ 684 h 961"/>
                  <a:gd name="T62" fmla="*/ 898 w 1806"/>
                  <a:gd name="T63" fmla="*/ 684 h 961"/>
                  <a:gd name="T64" fmla="*/ 813 w 1806"/>
                  <a:gd name="T65" fmla="*/ 679 h 961"/>
                  <a:gd name="T66" fmla="*/ 790 w 1806"/>
                  <a:gd name="T67" fmla="*/ 679 h 961"/>
                  <a:gd name="T68" fmla="*/ 887 w 1806"/>
                  <a:gd name="T69" fmla="*/ 757 h 961"/>
                  <a:gd name="T70" fmla="*/ 1801 w 1806"/>
                  <a:gd name="T71" fmla="*/ 931 h 961"/>
                  <a:gd name="T72" fmla="*/ 1583 w 1806"/>
                  <a:gd name="T73" fmla="*/ 614 h 961"/>
                  <a:gd name="T74" fmla="*/ 1255 w 1806"/>
                  <a:gd name="T75" fmla="*/ 550 h 961"/>
                  <a:gd name="T76" fmla="*/ 1302 w 1806"/>
                  <a:gd name="T77" fmla="*/ 704 h 961"/>
                  <a:gd name="T78" fmla="*/ 1248 w 1806"/>
                  <a:gd name="T79" fmla="*/ 755 h 961"/>
                  <a:gd name="T80" fmla="*/ 1210 w 1806"/>
                  <a:gd name="T81" fmla="*/ 740 h 961"/>
                  <a:gd name="T82" fmla="*/ 1080 w 1806"/>
                  <a:gd name="T83" fmla="*/ 685 h 961"/>
                  <a:gd name="T84" fmla="*/ 951 w 1806"/>
                  <a:gd name="T85" fmla="*/ 788 h 961"/>
                  <a:gd name="T86" fmla="*/ 954 w 1806"/>
                  <a:gd name="T87" fmla="*/ 805 h 961"/>
                  <a:gd name="T88" fmla="*/ 954 w 1806"/>
                  <a:gd name="T89" fmla="*/ 915 h 961"/>
                  <a:gd name="T90" fmla="*/ 903 w 1806"/>
                  <a:gd name="T91" fmla="*/ 915 h 961"/>
                  <a:gd name="T92" fmla="*/ 903 w 1806"/>
                  <a:gd name="T93" fmla="*/ 856 h 961"/>
                  <a:gd name="T94" fmla="*/ 852 w 1806"/>
                  <a:gd name="T95" fmla="*/ 805 h 961"/>
                  <a:gd name="T96" fmla="*/ 855 w 1806"/>
                  <a:gd name="T97" fmla="*/ 788 h 961"/>
                  <a:gd name="T98" fmla="*/ 726 w 1806"/>
                  <a:gd name="T99" fmla="*/ 685 h 961"/>
                  <a:gd name="T100" fmla="*/ 596 w 1806"/>
                  <a:gd name="T101" fmla="*/ 740 h 961"/>
                  <a:gd name="T102" fmla="*/ 558 w 1806"/>
                  <a:gd name="T103" fmla="*/ 755 h 961"/>
                  <a:gd name="T104" fmla="*/ 558 w 1806"/>
                  <a:gd name="T105" fmla="*/ 755 h 961"/>
                  <a:gd name="T106" fmla="*/ 504 w 1806"/>
                  <a:gd name="T107" fmla="*/ 704 h 961"/>
                  <a:gd name="T108" fmla="*/ 551 w 1806"/>
                  <a:gd name="T109" fmla="*/ 550 h 961"/>
                  <a:gd name="T110" fmla="*/ 223 w 1806"/>
                  <a:gd name="T111" fmla="*/ 614 h 961"/>
                  <a:gd name="T112" fmla="*/ 5 w 1806"/>
                  <a:gd name="T113" fmla="*/ 931 h 961"/>
                  <a:gd name="T114" fmla="*/ 26 w 1806"/>
                  <a:gd name="T115" fmla="*/ 961 h 961"/>
                  <a:gd name="T116" fmla="*/ 1780 w 1806"/>
                  <a:gd name="T117" fmla="*/ 961 h 961"/>
                  <a:gd name="T118" fmla="*/ 1801 w 1806"/>
                  <a:gd name="T119" fmla="*/ 93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6" h="961">
                    <a:moveTo>
                      <a:pt x="477" y="24"/>
                    </a:moveTo>
                    <a:cubicBezTo>
                      <a:pt x="484" y="43"/>
                      <a:pt x="498" y="65"/>
                      <a:pt x="523" y="77"/>
                    </a:cubicBezTo>
                    <a:cubicBezTo>
                      <a:pt x="528" y="80"/>
                      <a:pt x="531" y="84"/>
                      <a:pt x="533" y="89"/>
                    </a:cubicBezTo>
                    <a:cubicBezTo>
                      <a:pt x="574" y="192"/>
                      <a:pt x="648" y="365"/>
                      <a:pt x="677" y="391"/>
                    </a:cubicBezTo>
                    <a:cubicBezTo>
                      <a:pt x="722" y="430"/>
                      <a:pt x="838" y="504"/>
                      <a:pt x="903" y="504"/>
                    </a:cubicBezTo>
                    <a:cubicBezTo>
                      <a:pt x="967" y="504"/>
                      <a:pt x="1084" y="430"/>
                      <a:pt x="1129" y="391"/>
                    </a:cubicBezTo>
                    <a:cubicBezTo>
                      <a:pt x="1157" y="365"/>
                      <a:pt x="1232" y="192"/>
                      <a:pt x="1272" y="89"/>
                    </a:cubicBezTo>
                    <a:cubicBezTo>
                      <a:pt x="1274" y="84"/>
                      <a:pt x="1278" y="80"/>
                      <a:pt x="1283" y="77"/>
                    </a:cubicBezTo>
                    <a:cubicBezTo>
                      <a:pt x="1308" y="65"/>
                      <a:pt x="1322" y="44"/>
                      <a:pt x="1329" y="24"/>
                    </a:cubicBezTo>
                    <a:cubicBezTo>
                      <a:pt x="1380" y="0"/>
                      <a:pt x="1380" y="0"/>
                      <a:pt x="1380" y="0"/>
                    </a:cubicBezTo>
                    <a:cubicBezTo>
                      <a:pt x="1380" y="1"/>
                      <a:pt x="1380" y="2"/>
                      <a:pt x="1380" y="3"/>
                    </a:cubicBezTo>
                    <a:cubicBezTo>
                      <a:pt x="1376" y="26"/>
                      <a:pt x="1363" y="82"/>
                      <a:pt x="1310" y="112"/>
                    </a:cubicBezTo>
                    <a:cubicBezTo>
                      <a:pt x="1288" y="168"/>
                      <a:pt x="1212" y="358"/>
                      <a:pt x="1167" y="414"/>
                    </a:cubicBezTo>
                    <a:cubicBezTo>
                      <a:pt x="1167" y="510"/>
                      <a:pt x="1167" y="510"/>
                      <a:pt x="1167" y="510"/>
                    </a:cubicBezTo>
                    <a:cubicBezTo>
                      <a:pt x="1123" y="524"/>
                      <a:pt x="1123" y="524"/>
                      <a:pt x="1123" y="524"/>
                    </a:cubicBezTo>
                    <a:cubicBezTo>
                      <a:pt x="1123" y="451"/>
                      <a:pt x="1123" y="451"/>
                      <a:pt x="1123" y="451"/>
                    </a:cubicBezTo>
                    <a:cubicBezTo>
                      <a:pt x="1064" y="494"/>
                      <a:pt x="968" y="548"/>
                      <a:pt x="903" y="548"/>
                    </a:cubicBezTo>
                    <a:cubicBezTo>
                      <a:pt x="838" y="548"/>
                      <a:pt x="742" y="494"/>
                      <a:pt x="683" y="452"/>
                    </a:cubicBezTo>
                    <a:cubicBezTo>
                      <a:pt x="683" y="524"/>
                      <a:pt x="683" y="524"/>
                      <a:pt x="683" y="524"/>
                    </a:cubicBezTo>
                    <a:cubicBezTo>
                      <a:pt x="639" y="510"/>
                      <a:pt x="639" y="510"/>
                      <a:pt x="639" y="510"/>
                    </a:cubicBezTo>
                    <a:cubicBezTo>
                      <a:pt x="639" y="414"/>
                      <a:pt x="639" y="414"/>
                      <a:pt x="639" y="414"/>
                    </a:cubicBezTo>
                    <a:cubicBezTo>
                      <a:pt x="594" y="359"/>
                      <a:pt x="517" y="168"/>
                      <a:pt x="495" y="112"/>
                    </a:cubicBezTo>
                    <a:cubicBezTo>
                      <a:pt x="446" y="83"/>
                      <a:pt x="431" y="33"/>
                      <a:pt x="426" y="5"/>
                    </a:cubicBezTo>
                    <a:cubicBezTo>
                      <a:pt x="426" y="4"/>
                      <a:pt x="426" y="2"/>
                      <a:pt x="426" y="0"/>
                    </a:cubicBezTo>
                    <a:lnTo>
                      <a:pt x="477" y="24"/>
                    </a:lnTo>
                    <a:close/>
                    <a:moveTo>
                      <a:pt x="887" y="757"/>
                    </a:moveTo>
                    <a:cubicBezTo>
                      <a:pt x="892" y="755"/>
                      <a:pt x="897" y="754"/>
                      <a:pt x="903" y="754"/>
                    </a:cubicBezTo>
                    <a:cubicBezTo>
                      <a:pt x="909" y="754"/>
                      <a:pt x="914" y="755"/>
                      <a:pt x="919" y="757"/>
                    </a:cubicBezTo>
                    <a:cubicBezTo>
                      <a:pt x="1016" y="679"/>
                      <a:pt x="1016" y="679"/>
                      <a:pt x="1016" y="679"/>
                    </a:cubicBezTo>
                    <a:cubicBezTo>
                      <a:pt x="1009" y="679"/>
                      <a:pt x="1001" y="679"/>
                      <a:pt x="993" y="679"/>
                    </a:cubicBezTo>
                    <a:cubicBezTo>
                      <a:pt x="966" y="679"/>
                      <a:pt x="938" y="681"/>
                      <a:pt x="908" y="684"/>
                    </a:cubicBezTo>
                    <a:cubicBezTo>
                      <a:pt x="898" y="684"/>
                      <a:pt x="898" y="684"/>
                      <a:pt x="898" y="684"/>
                    </a:cubicBezTo>
                    <a:cubicBezTo>
                      <a:pt x="868" y="681"/>
                      <a:pt x="840" y="679"/>
                      <a:pt x="813" y="679"/>
                    </a:cubicBezTo>
                    <a:cubicBezTo>
                      <a:pt x="805" y="679"/>
                      <a:pt x="797" y="679"/>
                      <a:pt x="790" y="679"/>
                    </a:cubicBezTo>
                    <a:lnTo>
                      <a:pt x="887" y="757"/>
                    </a:lnTo>
                    <a:close/>
                    <a:moveTo>
                      <a:pt x="1801" y="931"/>
                    </a:moveTo>
                    <a:cubicBezTo>
                      <a:pt x="1773" y="857"/>
                      <a:pt x="1693" y="664"/>
                      <a:pt x="1583" y="614"/>
                    </a:cubicBezTo>
                    <a:cubicBezTo>
                      <a:pt x="1489" y="570"/>
                      <a:pt x="1338" y="555"/>
                      <a:pt x="1255" y="550"/>
                    </a:cubicBezTo>
                    <a:cubicBezTo>
                      <a:pt x="1279" y="582"/>
                      <a:pt x="1305" y="635"/>
                      <a:pt x="1302" y="704"/>
                    </a:cubicBezTo>
                    <a:cubicBezTo>
                      <a:pt x="1300" y="732"/>
                      <a:pt x="1276" y="755"/>
                      <a:pt x="1248" y="755"/>
                    </a:cubicBezTo>
                    <a:cubicBezTo>
                      <a:pt x="1234" y="755"/>
                      <a:pt x="1220" y="749"/>
                      <a:pt x="1210" y="740"/>
                    </a:cubicBezTo>
                    <a:cubicBezTo>
                      <a:pt x="1196" y="726"/>
                      <a:pt x="1158" y="698"/>
                      <a:pt x="1080" y="685"/>
                    </a:cubicBezTo>
                    <a:cubicBezTo>
                      <a:pt x="951" y="788"/>
                      <a:pt x="951" y="788"/>
                      <a:pt x="951" y="788"/>
                    </a:cubicBezTo>
                    <a:cubicBezTo>
                      <a:pt x="953" y="793"/>
                      <a:pt x="954" y="799"/>
                      <a:pt x="954" y="805"/>
                    </a:cubicBezTo>
                    <a:cubicBezTo>
                      <a:pt x="954" y="915"/>
                      <a:pt x="954" y="915"/>
                      <a:pt x="954" y="915"/>
                    </a:cubicBezTo>
                    <a:cubicBezTo>
                      <a:pt x="903" y="915"/>
                      <a:pt x="903" y="915"/>
                      <a:pt x="903" y="915"/>
                    </a:cubicBezTo>
                    <a:cubicBezTo>
                      <a:pt x="903" y="856"/>
                      <a:pt x="903" y="856"/>
                      <a:pt x="903" y="856"/>
                    </a:cubicBezTo>
                    <a:cubicBezTo>
                      <a:pt x="875" y="856"/>
                      <a:pt x="852" y="833"/>
                      <a:pt x="852" y="805"/>
                    </a:cubicBezTo>
                    <a:cubicBezTo>
                      <a:pt x="852" y="799"/>
                      <a:pt x="853" y="793"/>
                      <a:pt x="855" y="788"/>
                    </a:cubicBezTo>
                    <a:cubicBezTo>
                      <a:pt x="726" y="685"/>
                      <a:pt x="726" y="685"/>
                      <a:pt x="726" y="685"/>
                    </a:cubicBezTo>
                    <a:cubicBezTo>
                      <a:pt x="648" y="698"/>
                      <a:pt x="610" y="726"/>
                      <a:pt x="596" y="740"/>
                    </a:cubicBezTo>
                    <a:cubicBezTo>
                      <a:pt x="586" y="749"/>
                      <a:pt x="572" y="755"/>
                      <a:pt x="558" y="755"/>
                    </a:cubicBezTo>
                    <a:cubicBezTo>
                      <a:pt x="558" y="755"/>
                      <a:pt x="558" y="755"/>
                      <a:pt x="558" y="755"/>
                    </a:cubicBezTo>
                    <a:cubicBezTo>
                      <a:pt x="530" y="755"/>
                      <a:pt x="506" y="732"/>
                      <a:pt x="504" y="704"/>
                    </a:cubicBezTo>
                    <a:cubicBezTo>
                      <a:pt x="501" y="635"/>
                      <a:pt x="527" y="582"/>
                      <a:pt x="551" y="550"/>
                    </a:cubicBezTo>
                    <a:cubicBezTo>
                      <a:pt x="468" y="555"/>
                      <a:pt x="317" y="570"/>
                      <a:pt x="223" y="614"/>
                    </a:cubicBezTo>
                    <a:cubicBezTo>
                      <a:pt x="113" y="664"/>
                      <a:pt x="33" y="857"/>
                      <a:pt x="5" y="931"/>
                    </a:cubicBezTo>
                    <a:cubicBezTo>
                      <a:pt x="0" y="945"/>
                      <a:pt x="10" y="961"/>
                      <a:pt x="26" y="961"/>
                    </a:cubicBezTo>
                    <a:cubicBezTo>
                      <a:pt x="1780" y="961"/>
                      <a:pt x="1780" y="961"/>
                      <a:pt x="1780" y="961"/>
                    </a:cubicBezTo>
                    <a:cubicBezTo>
                      <a:pt x="1796" y="961"/>
                      <a:pt x="1806" y="945"/>
                      <a:pt x="1801" y="9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26">
                <a:extLst>
                  <a:ext uri="{FF2B5EF4-FFF2-40B4-BE49-F238E27FC236}">
                    <a16:creationId xmlns:a16="http://schemas.microsoft.com/office/drawing/2014/main" id="{6D9D5702-A900-404B-BF43-FB915C5F527F}"/>
                  </a:ext>
                </a:extLst>
              </p:cNvPr>
              <p:cNvSpPr>
                <a:spLocks noEditPoints="1"/>
              </p:cNvSpPr>
              <p:nvPr/>
            </p:nvSpPr>
            <p:spPr bwMode="auto">
              <a:xfrm>
                <a:off x="5757671" y="2805303"/>
                <a:ext cx="675132" cy="1024509"/>
              </a:xfrm>
              <a:custGeom>
                <a:avLst/>
                <a:gdLst>
                  <a:gd name="T0" fmla="*/ 928 w 946"/>
                  <a:gd name="T1" fmla="*/ 647 h 1434"/>
                  <a:gd name="T2" fmla="*/ 928 w 946"/>
                  <a:gd name="T3" fmla="*/ 646 h 1434"/>
                  <a:gd name="T4" fmla="*/ 874 w 946"/>
                  <a:gd name="T5" fmla="*/ 722 h 1434"/>
                  <a:gd name="T6" fmla="*/ 840 w 946"/>
                  <a:gd name="T7" fmla="*/ 722 h 1434"/>
                  <a:gd name="T8" fmla="*/ 835 w 946"/>
                  <a:gd name="T9" fmla="*/ 366 h 1434"/>
                  <a:gd name="T10" fmla="*/ 214 w 946"/>
                  <a:gd name="T11" fmla="*/ 388 h 1434"/>
                  <a:gd name="T12" fmla="*/ 98 w 946"/>
                  <a:gd name="T13" fmla="*/ 716 h 1434"/>
                  <a:gd name="T14" fmla="*/ 67 w 946"/>
                  <a:gd name="T15" fmla="*/ 713 h 1434"/>
                  <a:gd name="T16" fmla="*/ 20 w 946"/>
                  <a:gd name="T17" fmla="*/ 653 h 1434"/>
                  <a:gd name="T18" fmla="*/ 20 w 946"/>
                  <a:gd name="T19" fmla="*/ 652 h 1434"/>
                  <a:gd name="T20" fmla="*/ 1 w 946"/>
                  <a:gd name="T21" fmla="*/ 483 h 1434"/>
                  <a:gd name="T22" fmla="*/ 473 w 946"/>
                  <a:gd name="T23" fmla="*/ 0 h 1434"/>
                  <a:gd name="T24" fmla="*/ 945 w 946"/>
                  <a:gd name="T25" fmla="*/ 483 h 1434"/>
                  <a:gd name="T26" fmla="*/ 928 w 946"/>
                  <a:gd name="T27" fmla="*/ 647 h 1434"/>
                  <a:gd name="T28" fmla="*/ 473 w 946"/>
                  <a:gd name="T29" fmla="*/ 1360 h 1434"/>
                  <a:gd name="T30" fmla="*/ 181 w 946"/>
                  <a:gd name="T31" fmla="*/ 1268 h 1434"/>
                  <a:gd name="T32" fmla="*/ 118 w 946"/>
                  <a:gd name="T33" fmla="*/ 1421 h 1434"/>
                  <a:gd name="T34" fmla="*/ 135 w 946"/>
                  <a:gd name="T35" fmla="*/ 1428 h 1434"/>
                  <a:gd name="T36" fmla="*/ 473 w 946"/>
                  <a:gd name="T37" fmla="*/ 1360 h 1434"/>
                  <a:gd name="T38" fmla="*/ 811 w 946"/>
                  <a:gd name="T39" fmla="*/ 1428 h 1434"/>
                  <a:gd name="T40" fmla="*/ 828 w 946"/>
                  <a:gd name="T41" fmla="*/ 1421 h 1434"/>
                  <a:gd name="T42" fmla="*/ 765 w 946"/>
                  <a:gd name="T43" fmla="*/ 1268 h 1434"/>
                  <a:gd name="T44" fmla="*/ 473 w 946"/>
                  <a:gd name="T45" fmla="*/ 1360 h 1434"/>
                  <a:gd name="T46" fmla="*/ 811 w 946"/>
                  <a:gd name="T47" fmla="*/ 1428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1434">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473" y="1360"/>
                    </a:moveTo>
                    <a:cubicBezTo>
                      <a:pt x="181" y="1268"/>
                      <a:pt x="181" y="1268"/>
                      <a:pt x="181" y="1268"/>
                    </a:cubicBezTo>
                    <a:cubicBezTo>
                      <a:pt x="181" y="1268"/>
                      <a:pt x="113" y="1326"/>
                      <a:pt x="118" y="1421"/>
                    </a:cubicBezTo>
                    <a:cubicBezTo>
                      <a:pt x="119" y="1430"/>
                      <a:pt x="129" y="1434"/>
                      <a:pt x="135" y="1428"/>
                    </a:cubicBezTo>
                    <a:cubicBezTo>
                      <a:pt x="167" y="1397"/>
                      <a:pt x="258" y="1337"/>
                      <a:pt x="473" y="1360"/>
                    </a:cubicBezTo>
                    <a:close/>
                    <a:moveTo>
                      <a:pt x="811" y="1428"/>
                    </a:moveTo>
                    <a:cubicBezTo>
                      <a:pt x="817" y="1434"/>
                      <a:pt x="827" y="1430"/>
                      <a:pt x="828" y="1421"/>
                    </a:cubicBezTo>
                    <a:cubicBezTo>
                      <a:pt x="833" y="1326"/>
                      <a:pt x="765" y="1268"/>
                      <a:pt x="765" y="1268"/>
                    </a:cubicBezTo>
                    <a:cubicBezTo>
                      <a:pt x="473" y="1360"/>
                      <a:pt x="473" y="1360"/>
                      <a:pt x="473" y="1360"/>
                    </a:cubicBezTo>
                    <a:cubicBezTo>
                      <a:pt x="688" y="1337"/>
                      <a:pt x="779" y="1397"/>
                      <a:pt x="811" y="14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5" name="Group 74"/>
          <p:cNvGrpSpPr>
            <a:grpSpLocks noChangeAspect="1"/>
          </p:cNvGrpSpPr>
          <p:nvPr/>
        </p:nvGrpSpPr>
        <p:grpSpPr>
          <a:xfrm>
            <a:off x="6293769" y="3746664"/>
            <a:ext cx="476323" cy="476765"/>
            <a:chOff x="5273801" y="2606040"/>
            <a:chExt cx="1644396" cy="1645920"/>
          </a:xfrm>
        </p:grpSpPr>
        <p:sp>
          <p:nvSpPr>
            <p:cNvPr id="76" name="AutoShape 23">
              <a:extLst>
                <a:ext uri="{FF2B5EF4-FFF2-40B4-BE49-F238E27FC236}">
                  <a16:creationId xmlns:a16="http://schemas.microsoft.com/office/drawing/2014/main" id="{3B51CA84-BC38-422B-8ADA-5C0D31122932}"/>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7" name="Group 76"/>
            <p:cNvGrpSpPr/>
            <p:nvPr/>
          </p:nvGrpSpPr>
          <p:grpSpPr>
            <a:xfrm>
              <a:off x="5450966" y="2805303"/>
              <a:ext cx="1288923" cy="1200912"/>
              <a:chOff x="5450966" y="2805303"/>
              <a:chExt cx="1288923" cy="1200912"/>
            </a:xfrm>
          </p:grpSpPr>
          <p:sp>
            <p:nvSpPr>
              <p:cNvPr id="78" name="Freeform 25">
                <a:extLst>
                  <a:ext uri="{FF2B5EF4-FFF2-40B4-BE49-F238E27FC236}">
                    <a16:creationId xmlns:a16="http://schemas.microsoft.com/office/drawing/2014/main" id="{E9905D5D-B4F3-402C-A5B3-BEE51804C009}"/>
                  </a:ext>
                </a:extLst>
              </p:cNvPr>
              <p:cNvSpPr>
                <a:spLocks noEditPoints="1"/>
              </p:cNvSpPr>
              <p:nvPr/>
            </p:nvSpPr>
            <p:spPr bwMode="auto">
              <a:xfrm>
                <a:off x="5450966" y="3319653"/>
                <a:ext cx="1288923" cy="686562"/>
              </a:xfrm>
              <a:custGeom>
                <a:avLst/>
                <a:gdLst>
                  <a:gd name="T0" fmla="*/ 477 w 1806"/>
                  <a:gd name="T1" fmla="*/ 24 h 961"/>
                  <a:gd name="T2" fmla="*/ 523 w 1806"/>
                  <a:gd name="T3" fmla="*/ 77 h 961"/>
                  <a:gd name="T4" fmla="*/ 533 w 1806"/>
                  <a:gd name="T5" fmla="*/ 89 h 961"/>
                  <a:gd name="T6" fmla="*/ 677 w 1806"/>
                  <a:gd name="T7" fmla="*/ 391 h 961"/>
                  <a:gd name="T8" fmla="*/ 903 w 1806"/>
                  <a:gd name="T9" fmla="*/ 504 h 961"/>
                  <a:gd name="T10" fmla="*/ 1129 w 1806"/>
                  <a:gd name="T11" fmla="*/ 391 h 961"/>
                  <a:gd name="T12" fmla="*/ 1272 w 1806"/>
                  <a:gd name="T13" fmla="*/ 89 h 961"/>
                  <a:gd name="T14" fmla="*/ 1283 w 1806"/>
                  <a:gd name="T15" fmla="*/ 77 h 961"/>
                  <a:gd name="T16" fmla="*/ 1329 w 1806"/>
                  <a:gd name="T17" fmla="*/ 24 h 961"/>
                  <a:gd name="T18" fmla="*/ 1380 w 1806"/>
                  <a:gd name="T19" fmla="*/ 0 h 961"/>
                  <a:gd name="T20" fmla="*/ 1380 w 1806"/>
                  <a:gd name="T21" fmla="*/ 3 h 961"/>
                  <a:gd name="T22" fmla="*/ 1310 w 1806"/>
                  <a:gd name="T23" fmla="*/ 112 h 961"/>
                  <a:gd name="T24" fmla="*/ 1167 w 1806"/>
                  <a:gd name="T25" fmla="*/ 414 h 961"/>
                  <a:gd name="T26" fmla="*/ 1167 w 1806"/>
                  <a:gd name="T27" fmla="*/ 510 h 961"/>
                  <a:gd name="T28" fmla="*/ 1123 w 1806"/>
                  <a:gd name="T29" fmla="*/ 524 h 961"/>
                  <a:gd name="T30" fmla="*/ 1123 w 1806"/>
                  <a:gd name="T31" fmla="*/ 451 h 961"/>
                  <a:gd name="T32" fmla="*/ 903 w 1806"/>
                  <a:gd name="T33" fmla="*/ 548 h 961"/>
                  <a:gd name="T34" fmla="*/ 683 w 1806"/>
                  <a:gd name="T35" fmla="*/ 452 h 961"/>
                  <a:gd name="T36" fmla="*/ 683 w 1806"/>
                  <a:gd name="T37" fmla="*/ 524 h 961"/>
                  <a:gd name="T38" fmla="*/ 639 w 1806"/>
                  <a:gd name="T39" fmla="*/ 510 h 961"/>
                  <a:gd name="T40" fmla="*/ 639 w 1806"/>
                  <a:gd name="T41" fmla="*/ 414 h 961"/>
                  <a:gd name="T42" fmla="*/ 495 w 1806"/>
                  <a:gd name="T43" fmla="*/ 112 h 961"/>
                  <a:gd name="T44" fmla="*/ 426 w 1806"/>
                  <a:gd name="T45" fmla="*/ 5 h 961"/>
                  <a:gd name="T46" fmla="*/ 426 w 1806"/>
                  <a:gd name="T47" fmla="*/ 0 h 961"/>
                  <a:gd name="T48" fmla="*/ 477 w 1806"/>
                  <a:gd name="T49" fmla="*/ 24 h 961"/>
                  <a:gd name="T50" fmla="*/ 887 w 1806"/>
                  <a:gd name="T51" fmla="*/ 757 h 961"/>
                  <a:gd name="T52" fmla="*/ 903 w 1806"/>
                  <a:gd name="T53" fmla="*/ 754 h 961"/>
                  <a:gd name="T54" fmla="*/ 919 w 1806"/>
                  <a:gd name="T55" fmla="*/ 757 h 961"/>
                  <a:gd name="T56" fmla="*/ 1016 w 1806"/>
                  <a:gd name="T57" fmla="*/ 679 h 961"/>
                  <a:gd name="T58" fmla="*/ 993 w 1806"/>
                  <a:gd name="T59" fmla="*/ 679 h 961"/>
                  <a:gd name="T60" fmla="*/ 908 w 1806"/>
                  <a:gd name="T61" fmla="*/ 684 h 961"/>
                  <a:gd name="T62" fmla="*/ 898 w 1806"/>
                  <a:gd name="T63" fmla="*/ 684 h 961"/>
                  <a:gd name="T64" fmla="*/ 813 w 1806"/>
                  <a:gd name="T65" fmla="*/ 679 h 961"/>
                  <a:gd name="T66" fmla="*/ 790 w 1806"/>
                  <a:gd name="T67" fmla="*/ 679 h 961"/>
                  <a:gd name="T68" fmla="*/ 887 w 1806"/>
                  <a:gd name="T69" fmla="*/ 757 h 961"/>
                  <a:gd name="T70" fmla="*/ 1801 w 1806"/>
                  <a:gd name="T71" fmla="*/ 931 h 961"/>
                  <a:gd name="T72" fmla="*/ 1583 w 1806"/>
                  <a:gd name="T73" fmla="*/ 614 h 961"/>
                  <a:gd name="T74" fmla="*/ 1255 w 1806"/>
                  <a:gd name="T75" fmla="*/ 550 h 961"/>
                  <a:gd name="T76" fmla="*/ 1302 w 1806"/>
                  <a:gd name="T77" fmla="*/ 704 h 961"/>
                  <a:gd name="T78" fmla="*/ 1248 w 1806"/>
                  <a:gd name="T79" fmla="*/ 755 h 961"/>
                  <a:gd name="T80" fmla="*/ 1210 w 1806"/>
                  <a:gd name="T81" fmla="*/ 740 h 961"/>
                  <a:gd name="T82" fmla="*/ 1080 w 1806"/>
                  <a:gd name="T83" fmla="*/ 685 h 961"/>
                  <a:gd name="T84" fmla="*/ 951 w 1806"/>
                  <a:gd name="T85" fmla="*/ 788 h 961"/>
                  <a:gd name="T86" fmla="*/ 954 w 1806"/>
                  <a:gd name="T87" fmla="*/ 805 h 961"/>
                  <a:gd name="T88" fmla="*/ 954 w 1806"/>
                  <a:gd name="T89" fmla="*/ 915 h 961"/>
                  <a:gd name="T90" fmla="*/ 903 w 1806"/>
                  <a:gd name="T91" fmla="*/ 915 h 961"/>
                  <a:gd name="T92" fmla="*/ 903 w 1806"/>
                  <a:gd name="T93" fmla="*/ 856 h 961"/>
                  <a:gd name="T94" fmla="*/ 852 w 1806"/>
                  <a:gd name="T95" fmla="*/ 805 h 961"/>
                  <a:gd name="T96" fmla="*/ 855 w 1806"/>
                  <a:gd name="T97" fmla="*/ 788 h 961"/>
                  <a:gd name="T98" fmla="*/ 726 w 1806"/>
                  <a:gd name="T99" fmla="*/ 685 h 961"/>
                  <a:gd name="T100" fmla="*/ 596 w 1806"/>
                  <a:gd name="T101" fmla="*/ 740 h 961"/>
                  <a:gd name="T102" fmla="*/ 558 w 1806"/>
                  <a:gd name="T103" fmla="*/ 755 h 961"/>
                  <a:gd name="T104" fmla="*/ 558 w 1806"/>
                  <a:gd name="T105" fmla="*/ 755 h 961"/>
                  <a:gd name="T106" fmla="*/ 504 w 1806"/>
                  <a:gd name="T107" fmla="*/ 704 h 961"/>
                  <a:gd name="T108" fmla="*/ 551 w 1806"/>
                  <a:gd name="T109" fmla="*/ 550 h 961"/>
                  <a:gd name="T110" fmla="*/ 223 w 1806"/>
                  <a:gd name="T111" fmla="*/ 614 h 961"/>
                  <a:gd name="T112" fmla="*/ 5 w 1806"/>
                  <a:gd name="T113" fmla="*/ 931 h 961"/>
                  <a:gd name="T114" fmla="*/ 26 w 1806"/>
                  <a:gd name="T115" fmla="*/ 961 h 961"/>
                  <a:gd name="T116" fmla="*/ 1780 w 1806"/>
                  <a:gd name="T117" fmla="*/ 961 h 961"/>
                  <a:gd name="T118" fmla="*/ 1801 w 1806"/>
                  <a:gd name="T119" fmla="*/ 93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6" h="961">
                    <a:moveTo>
                      <a:pt x="477" y="24"/>
                    </a:moveTo>
                    <a:cubicBezTo>
                      <a:pt x="484" y="43"/>
                      <a:pt x="498" y="65"/>
                      <a:pt x="523" y="77"/>
                    </a:cubicBezTo>
                    <a:cubicBezTo>
                      <a:pt x="528" y="80"/>
                      <a:pt x="531" y="84"/>
                      <a:pt x="533" y="89"/>
                    </a:cubicBezTo>
                    <a:cubicBezTo>
                      <a:pt x="574" y="192"/>
                      <a:pt x="648" y="365"/>
                      <a:pt x="677" y="391"/>
                    </a:cubicBezTo>
                    <a:cubicBezTo>
                      <a:pt x="722" y="430"/>
                      <a:pt x="838" y="504"/>
                      <a:pt x="903" y="504"/>
                    </a:cubicBezTo>
                    <a:cubicBezTo>
                      <a:pt x="967" y="504"/>
                      <a:pt x="1084" y="430"/>
                      <a:pt x="1129" y="391"/>
                    </a:cubicBezTo>
                    <a:cubicBezTo>
                      <a:pt x="1157" y="365"/>
                      <a:pt x="1232" y="192"/>
                      <a:pt x="1272" y="89"/>
                    </a:cubicBezTo>
                    <a:cubicBezTo>
                      <a:pt x="1274" y="84"/>
                      <a:pt x="1278" y="80"/>
                      <a:pt x="1283" y="77"/>
                    </a:cubicBezTo>
                    <a:cubicBezTo>
                      <a:pt x="1308" y="65"/>
                      <a:pt x="1322" y="44"/>
                      <a:pt x="1329" y="24"/>
                    </a:cubicBezTo>
                    <a:cubicBezTo>
                      <a:pt x="1380" y="0"/>
                      <a:pt x="1380" y="0"/>
                      <a:pt x="1380" y="0"/>
                    </a:cubicBezTo>
                    <a:cubicBezTo>
                      <a:pt x="1380" y="1"/>
                      <a:pt x="1380" y="2"/>
                      <a:pt x="1380" y="3"/>
                    </a:cubicBezTo>
                    <a:cubicBezTo>
                      <a:pt x="1376" y="26"/>
                      <a:pt x="1363" y="82"/>
                      <a:pt x="1310" y="112"/>
                    </a:cubicBezTo>
                    <a:cubicBezTo>
                      <a:pt x="1288" y="168"/>
                      <a:pt x="1212" y="358"/>
                      <a:pt x="1167" y="414"/>
                    </a:cubicBezTo>
                    <a:cubicBezTo>
                      <a:pt x="1167" y="510"/>
                      <a:pt x="1167" y="510"/>
                      <a:pt x="1167" y="510"/>
                    </a:cubicBezTo>
                    <a:cubicBezTo>
                      <a:pt x="1123" y="524"/>
                      <a:pt x="1123" y="524"/>
                      <a:pt x="1123" y="524"/>
                    </a:cubicBezTo>
                    <a:cubicBezTo>
                      <a:pt x="1123" y="451"/>
                      <a:pt x="1123" y="451"/>
                      <a:pt x="1123" y="451"/>
                    </a:cubicBezTo>
                    <a:cubicBezTo>
                      <a:pt x="1064" y="494"/>
                      <a:pt x="968" y="548"/>
                      <a:pt x="903" y="548"/>
                    </a:cubicBezTo>
                    <a:cubicBezTo>
                      <a:pt x="838" y="548"/>
                      <a:pt x="742" y="494"/>
                      <a:pt x="683" y="452"/>
                    </a:cubicBezTo>
                    <a:cubicBezTo>
                      <a:pt x="683" y="524"/>
                      <a:pt x="683" y="524"/>
                      <a:pt x="683" y="524"/>
                    </a:cubicBezTo>
                    <a:cubicBezTo>
                      <a:pt x="639" y="510"/>
                      <a:pt x="639" y="510"/>
                      <a:pt x="639" y="510"/>
                    </a:cubicBezTo>
                    <a:cubicBezTo>
                      <a:pt x="639" y="414"/>
                      <a:pt x="639" y="414"/>
                      <a:pt x="639" y="414"/>
                    </a:cubicBezTo>
                    <a:cubicBezTo>
                      <a:pt x="594" y="359"/>
                      <a:pt x="517" y="168"/>
                      <a:pt x="495" y="112"/>
                    </a:cubicBezTo>
                    <a:cubicBezTo>
                      <a:pt x="446" y="83"/>
                      <a:pt x="431" y="33"/>
                      <a:pt x="426" y="5"/>
                    </a:cubicBezTo>
                    <a:cubicBezTo>
                      <a:pt x="426" y="4"/>
                      <a:pt x="426" y="2"/>
                      <a:pt x="426" y="0"/>
                    </a:cubicBezTo>
                    <a:lnTo>
                      <a:pt x="477" y="24"/>
                    </a:lnTo>
                    <a:close/>
                    <a:moveTo>
                      <a:pt x="887" y="757"/>
                    </a:moveTo>
                    <a:cubicBezTo>
                      <a:pt x="892" y="755"/>
                      <a:pt x="897" y="754"/>
                      <a:pt x="903" y="754"/>
                    </a:cubicBezTo>
                    <a:cubicBezTo>
                      <a:pt x="909" y="754"/>
                      <a:pt x="914" y="755"/>
                      <a:pt x="919" y="757"/>
                    </a:cubicBezTo>
                    <a:cubicBezTo>
                      <a:pt x="1016" y="679"/>
                      <a:pt x="1016" y="679"/>
                      <a:pt x="1016" y="679"/>
                    </a:cubicBezTo>
                    <a:cubicBezTo>
                      <a:pt x="1009" y="679"/>
                      <a:pt x="1001" y="679"/>
                      <a:pt x="993" y="679"/>
                    </a:cubicBezTo>
                    <a:cubicBezTo>
                      <a:pt x="966" y="679"/>
                      <a:pt x="938" y="681"/>
                      <a:pt x="908" y="684"/>
                    </a:cubicBezTo>
                    <a:cubicBezTo>
                      <a:pt x="898" y="684"/>
                      <a:pt x="898" y="684"/>
                      <a:pt x="898" y="684"/>
                    </a:cubicBezTo>
                    <a:cubicBezTo>
                      <a:pt x="868" y="681"/>
                      <a:pt x="840" y="679"/>
                      <a:pt x="813" y="679"/>
                    </a:cubicBezTo>
                    <a:cubicBezTo>
                      <a:pt x="805" y="679"/>
                      <a:pt x="797" y="679"/>
                      <a:pt x="790" y="679"/>
                    </a:cubicBezTo>
                    <a:lnTo>
                      <a:pt x="887" y="757"/>
                    </a:lnTo>
                    <a:close/>
                    <a:moveTo>
                      <a:pt x="1801" y="931"/>
                    </a:moveTo>
                    <a:cubicBezTo>
                      <a:pt x="1773" y="857"/>
                      <a:pt x="1693" y="664"/>
                      <a:pt x="1583" y="614"/>
                    </a:cubicBezTo>
                    <a:cubicBezTo>
                      <a:pt x="1489" y="570"/>
                      <a:pt x="1338" y="555"/>
                      <a:pt x="1255" y="550"/>
                    </a:cubicBezTo>
                    <a:cubicBezTo>
                      <a:pt x="1279" y="582"/>
                      <a:pt x="1305" y="635"/>
                      <a:pt x="1302" y="704"/>
                    </a:cubicBezTo>
                    <a:cubicBezTo>
                      <a:pt x="1300" y="732"/>
                      <a:pt x="1276" y="755"/>
                      <a:pt x="1248" y="755"/>
                    </a:cubicBezTo>
                    <a:cubicBezTo>
                      <a:pt x="1234" y="755"/>
                      <a:pt x="1220" y="749"/>
                      <a:pt x="1210" y="740"/>
                    </a:cubicBezTo>
                    <a:cubicBezTo>
                      <a:pt x="1196" y="726"/>
                      <a:pt x="1158" y="698"/>
                      <a:pt x="1080" y="685"/>
                    </a:cubicBezTo>
                    <a:cubicBezTo>
                      <a:pt x="951" y="788"/>
                      <a:pt x="951" y="788"/>
                      <a:pt x="951" y="788"/>
                    </a:cubicBezTo>
                    <a:cubicBezTo>
                      <a:pt x="953" y="793"/>
                      <a:pt x="954" y="799"/>
                      <a:pt x="954" y="805"/>
                    </a:cubicBezTo>
                    <a:cubicBezTo>
                      <a:pt x="954" y="915"/>
                      <a:pt x="954" y="915"/>
                      <a:pt x="954" y="915"/>
                    </a:cubicBezTo>
                    <a:cubicBezTo>
                      <a:pt x="903" y="915"/>
                      <a:pt x="903" y="915"/>
                      <a:pt x="903" y="915"/>
                    </a:cubicBezTo>
                    <a:cubicBezTo>
                      <a:pt x="903" y="856"/>
                      <a:pt x="903" y="856"/>
                      <a:pt x="903" y="856"/>
                    </a:cubicBezTo>
                    <a:cubicBezTo>
                      <a:pt x="875" y="856"/>
                      <a:pt x="852" y="833"/>
                      <a:pt x="852" y="805"/>
                    </a:cubicBezTo>
                    <a:cubicBezTo>
                      <a:pt x="852" y="799"/>
                      <a:pt x="853" y="793"/>
                      <a:pt x="855" y="788"/>
                    </a:cubicBezTo>
                    <a:cubicBezTo>
                      <a:pt x="726" y="685"/>
                      <a:pt x="726" y="685"/>
                      <a:pt x="726" y="685"/>
                    </a:cubicBezTo>
                    <a:cubicBezTo>
                      <a:pt x="648" y="698"/>
                      <a:pt x="610" y="726"/>
                      <a:pt x="596" y="740"/>
                    </a:cubicBezTo>
                    <a:cubicBezTo>
                      <a:pt x="586" y="749"/>
                      <a:pt x="572" y="755"/>
                      <a:pt x="558" y="755"/>
                    </a:cubicBezTo>
                    <a:cubicBezTo>
                      <a:pt x="558" y="755"/>
                      <a:pt x="558" y="755"/>
                      <a:pt x="558" y="755"/>
                    </a:cubicBezTo>
                    <a:cubicBezTo>
                      <a:pt x="530" y="755"/>
                      <a:pt x="506" y="732"/>
                      <a:pt x="504" y="704"/>
                    </a:cubicBezTo>
                    <a:cubicBezTo>
                      <a:pt x="501" y="635"/>
                      <a:pt x="527" y="582"/>
                      <a:pt x="551" y="550"/>
                    </a:cubicBezTo>
                    <a:cubicBezTo>
                      <a:pt x="468" y="555"/>
                      <a:pt x="317" y="570"/>
                      <a:pt x="223" y="614"/>
                    </a:cubicBezTo>
                    <a:cubicBezTo>
                      <a:pt x="113" y="664"/>
                      <a:pt x="33" y="857"/>
                      <a:pt x="5" y="931"/>
                    </a:cubicBezTo>
                    <a:cubicBezTo>
                      <a:pt x="0" y="945"/>
                      <a:pt x="10" y="961"/>
                      <a:pt x="26" y="961"/>
                    </a:cubicBezTo>
                    <a:cubicBezTo>
                      <a:pt x="1780" y="961"/>
                      <a:pt x="1780" y="961"/>
                      <a:pt x="1780" y="961"/>
                    </a:cubicBezTo>
                    <a:cubicBezTo>
                      <a:pt x="1796" y="961"/>
                      <a:pt x="1806" y="945"/>
                      <a:pt x="1801" y="9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6">
                <a:extLst>
                  <a:ext uri="{FF2B5EF4-FFF2-40B4-BE49-F238E27FC236}">
                    <a16:creationId xmlns:a16="http://schemas.microsoft.com/office/drawing/2014/main" id="{6D9D5702-A900-404B-BF43-FB915C5F527F}"/>
                  </a:ext>
                </a:extLst>
              </p:cNvPr>
              <p:cNvSpPr>
                <a:spLocks noEditPoints="1"/>
              </p:cNvSpPr>
              <p:nvPr/>
            </p:nvSpPr>
            <p:spPr bwMode="auto">
              <a:xfrm>
                <a:off x="5757671" y="2805303"/>
                <a:ext cx="675132" cy="1024509"/>
              </a:xfrm>
              <a:custGeom>
                <a:avLst/>
                <a:gdLst>
                  <a:gd name="T0" fmla="*/ 928 w 946"/>
                  <a:gd name="T1" fmla="*/ 647 h 1434"/>
                  <a:gd name="T2" fmla="*/ 928 w 946"/>
                  <a:gd name="T3" fmla="*/ 646 h 1434"/>
                  <a:gd name="T4" fmla="*/ 874 w 946"/>
                  <a:gd name="T5" fmla="*/ 722 h 1434"/>
                  <a:gd name="T6" fmla="*/ 840 w 946"/>
                  <a:gd name="T7" fmla="*/ 722 h 1434"/>
                  <a:gd name="T8" fmla="*/ 835 w 946"/>
                  <a:gd name="T9" fmla="*/ 366 h 1434"/>
                  <a:gd name="T10" fmla="*/ 214 w 946"/>
                  <a:gd name="T11" fmla="*/ 388 h 1434"/>
                  <a:gd name="T12" fmla="*/ 98 w 946"/>
                  <a:gd name="T13" fmla="*/ 716 h 1434"/>
                  <a:gd name="T14" fmla="*/ 67 w 946"/>
                  <a:gd name="T15" fmla="*/ 713 h 1434"/>
                  <a:gd name="T16" fmla="*/ 20 w 946"/>
                  <a:gd name="T17" fmla="*/ 653 h 1434"/>
                  <a:gd name="T18" fmla="*/ 20 w 946"/>
                  <a:gd name="T19" fmla="*/ 652 h 1434"/>
                  <a:gd name="T20" fmla="*/ 1 w 946"/>
                  <a:gd name="T21" fmla="*/ 483 h 1434"/>
                  <a:gd name="T22" fmla="*/ 473 w 946"/>
                  <a:gd name="T23" fmla="*/ 0 h 1434"/>
                  <a:gd name="T24" fmla="*/ 945 w 946"/>
                  <a:gd name="T25" fmla="*/ 483 h 1434"/>
                  <a:gd name="T26" fmla="*/ 928 w 946"/>
                  <a:gd name="T27" fmla="*/ 647 h 1434"/>
                  <a:gd name="T28" fmla="*/ 473 w 946"/>
                  <a:gd name="T29" fmla="*/ 1360 h 1434"/>
                  <a:gd name="T30" fmla="*/ 181 w 946"/>
                  <a:gd name="T31" fmla="*/ 1268 h 1434"/>
                  <a:gd name="T32" fmla="*/ 118 w 946"/>
                  <a:gd name="T33" fmla="*/ 1421 h 1434"/>
                  <a:gd name="T34" fmla="*/ 135 w 946"/>
                  <a:gd name="T35" fmla="*/ 1428 h 1434"/>
                  <a:gd name="T36" fmla="*/ 473 w 946"/>
                  <a:gd name="T37" fmla="*/ 1360 h 1434"/>
                  <a:gd name="T38" fmla="*/ 811 w 946"/>
                  <a:gd name="T39" fmla="*/ 1428 h 1434"/>
                  <a:gd name="T40" fmla="*/ 828 w 946"/>
                  <a:gd name="T41" fmla="*/ 1421 h 1434"/>
                  <a:gd name="T42" fmla="*/ 765 w 946"/>
                  <a:gd name="T43" fmla="*/ 1268 h 1434"/>
                  <a:gd name="T44" fmla="*/ 473 w 946"/>
                  <a:gd name="T45" fmla="*/ 1360 h 1434"/>
                  <a:gd name="T46" fmla="*/ 811 w 946"/>
                  <a:gd name="T47" fmla="*/ 1428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6" h="1434">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473" y="1360"/>
                    </a:moveTo>
                    <a:cubicBezTo>
                      <a:pt x="181" y="1268"/>
                      <a:pt x="181" y="1268"/>
                      <a:pt x="181" y="1268"/>
                    </a:cubicBezTo>
                    <a:cubicBezTo>
                      <a:pt x="181" y="1268"/>
                      <a:pt x="113" y="1326"/>
                      <a:pt x="118" y="1421"/>
                    </a:cubicBezTo>
                    <a:cubicBezTo>
                      <a:pt x="119" y="1430"/>
                      <a:pt x="129" y="1434"/>
                      <a:pt x="135" y="1428"/>
                    </a:cubicBezTo>
                    <a:cubicBezTo>
                      <a:pt x="167" y="1397"/>
                      <a:pt x="258" y="1337"/>
                      <a:pt x="473" y="1360"/>
                    </a:cubicBezTo>
                    <a:close/>
                    <a:moveTo>
                      <a:pt x="811" y="1428"/>
                    </a:moveTo>
                    <a:cubicBezTo>
                      <a:pt x="817" y="1434"/>
                      <a:pt x="827" y="1430"/>
                      <a:pt x="828" y="1421"/>
                    </a:cubicBezTo>
                    <a:cubicBezTo>
                      <a:pt x="833" y="1326"/>
                      <a:pt x="765" y="1268"/>
                      <a:pt x="765" y="1268"/>
                    </a:cubicBezTo>
                    <a:cubicBezTo>
                      <a:pt x="473" y="1360"/>
                      <a:pt x="473" y="1360"/>
                      <a:pt x="473" y="1360"/>
                    </a:cubicBezTo>
                    <a:cubicBezTo>
                      <a:pt x="688" y="1337"/>
                      <a:pt x="779" y="1397"/>
                      <a:pt x="811" y="14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80" name="TextBox 79"/>
          <p:cNvSpPr txBox="1"/>
          <p:nvPr/>
        </p:nvSpPr>
        <p:spPr>
          <a:xfrm>
            <a:off x="727558" y="6163294"/>
            <a:ext cx="10322432" cy="3800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i="1" dirty="0">
                <a:solidFill>
                  <a:srgbClr val="7F7F7F"/>
                </a:solidFill>
              </a:rPr>
              <a:t>Think about the main information you would want to gather right now. Be careful, being a top manager doesn't always mean you have the more insights on business…. </a:t>
            </a:r>
          </a:p>
        </p:txBody>
      </p:sp>
      <p:grpSp>
        <p:nvGrpSpPr>
          <p:cNvPr id="81" name="bcgBugs_LightBulb"/>
          <p:cNvGrpSpPr>
            <a:grpSpLocks noChangeAspect="1"/>
          </p:cNvGrpSpPr>
          <p:nvPr/>
        </p:nvGrpSpPr>
        <p:grpSpPr bwMode="auto">
          <a:xfrm>
            <a:off x="350095" y="6124699"/>
            <a:ext cx="456753" cy="457200"/>
            <a:chOff x="2818" y="1137"/>
            <a:chExt cx="2044" cy="2046"/>
          </a:xfrm>
        </p:grpSpPr>
        <p:sp>
          <p:nvSpPr>
            <p:cNvPr id="82" name="AutoShape 20"/>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2"/>
            <p:cNvSpPr>
              <a:spLocks noEditPoints="1"/>
            </p:cNvSpPr>
            <p:nvPr/>
          </p:nvSpPr>
          <p:spPr bwMode="auto">
            <a:xfrm>
              <a:off x="3301" y="1264"/>
              <a:ext cx="1080" cy="1798"/>
            </a:xfrm>
            <a:custGeom>
              <a:avLst/>
              <a:gdLst>
                <a:gd name="T0" fmla="*/ 464 w 528"/>
                <a:gd name="T1" fmla="*/ 437 h 878"/>
                <a:gd name="T2" fmla="*/ 401 w 528"/>
                <a:gd name="T3" fmla="*/ 560 h 878"/>
                <a:gd name="T4" fmla="*/ 379 w 528"/>
                <a:gd name="T5" fmla="*/ 629 h 878"/>
                <a:gd name="T6" fmla="*/ 286 w 528"/>
                <a:gd name="T7" fmla="*/ 629 h 878"/>
                <a:gd name="T8" fmla="*/ 348 w 528"/>
                <a:gd name="T9" fmla="*/ 443 h 878"/>
                <a:gd name="T10" fmla="*/ 331 w 528"/>
                <a:gd name="T11" fmla="*/ 406 h 878"/>
                <a:gd name="T12" fmla="*/ 327 w 528"/>
                <a:gd name="T13" fmla="*/ 355 h 878"/>
                <a:gd name="T14" fmla="*/ 310 w 528"/>
                <a:gd name="T15" fmla="*/ 318 h 878"/>
                <a:gd name="T16" fmla="*/ 324 w 528"/>
                <a:gd name="T17" fmla="*/ 252 h 878"/>
                <a:gd name="T18" fmla="*/ 290 w 528"/>
                <a:gd name="T19" fmla="*/ 225 h 878"/>
                <a:gd name="T20" fmla="*/ 204 w 528"/>
                <a:gd name="T21" fmla="*/ 349 h 878"/>
                <a:gd name="T22" fmla="*/ 261 w 528"/>
                <a:gd name="T23" fmla="*/ 362 h 878"/>
                <a:gd name="T24" fmla="*/ 211 w 528"/>
                <a:gd name="T25" fmla="*/ 437 h 878"/>
                <a:gd name="T26" fmla="*/ 283 w 528"/>
                <a:gd name="T27" fmla="*/ 450 h 878"/>
                <a:gd name="T28" fmla="*/ 242 w 528"/>
                <a:gd name="T29" fmla="*/ 505 h 878"/>
                <a:gd name="T30" fmla="*/ 149 w 528"/>
                <a:gd name="T31" fmla="*/ 629 h 878"/>
                <a:gd name="T32" fmla="*/ 127 w 528"/>
                <a:gd name="T33" fmla="*/ 629 h 878"/>
                <a:gd name="T34" fmla="*/ 66 w 528"/>
                <a:gd name="T35" fmla="*/ 439 h 878"/>
                <a:gd name="T36" fmla="*/ 0 w 528"/>
                <a:gd name="T37" fmla="*/ 264 h 878"/>
                <a:gd name="T38" fmla="*/ 528 w 528"/>
                <a:gd name="T39" fmla="*/ 264 h 878"/>
                <a:gd name="T40" fmla="*/ 164 w 528"/>
                <a:gd name="T41" fmla="*/ 783 h 878"/>
                <a:gd name="T42" fmla="*/ 142 w 528"/>
                <a:gd name="T43" fmla="*/ 834 h 878"/>
                <a:gd name="T44" fmla="*/ 264 w 528"/>
                <a:gd name="T45" fmla="*/ 876 h 878"/>
                <a:gd name="T46" fmla="*/ 374 w 528"/>
                <a:gd name="T47" fmla="*/ 854 h 878"/>
                <a:gd name="T48" fmla="*/ 386 w 528"/>
                <a:gd name="T49" fmla="*/ 805 h 878"/>
                <a:gd name="T50" fmla="*/ 402 w 528"/>
                <a:gd name="T51" fmla="*/ 721 h 878"/>
                <a:gd name="T52" fmla="*/ 104 w 528"/>
                <a:gd name="T53" fmla="*/ 743 h 878"/>
                <a:gd name="T54" fmla="*/ 402 w 528"/>
                <a:gd name="T55" fmla="*/ 765 h 878"/>
                <a:gd name="T56" fmla="*/ 402 w 528"/>
                <a:gd name="T57" fmla="*/ 721 h 878"/>
                <a:gd name="T58" fmla="*/ 402 w 528"/>
                <a:gd name="T59" fmla="*/ 704 h 878"/>
                <a:gd name="T60" fmla="*/ 402 w 528"/>
                <a:gd name="T61" fmla="*/ 660 h 878"/>
                <a:gd name="T62" fmla="*/ 104 w 528"/>
                <a:gd name="T63" fmla="*/ 682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8" h="878">
                  <a:moveTo>
                    <a:pt x="528" y="264"/>
                  </a:moveTo>
                  <a:cubicBezTo>
                    <a:pt x="528" y="328"/>
                    <a:pt x="506" y="389"/>
                    <a:pt x="464" y="437"/>
                  </a:cubicBezTo>
                  <a:cubicBezTo>
                    <a:pt x="462" y="439"/>
                    <a:pt x="462" y="439"/>
                    <a:pt x="462" y="439"/>
                  </a:cubicBezTo>
                  <a:cubicBezTo>
                    <a:pt x="462" y="440"/>
                    <a:pt x="401" y="497"/>
                    <a:pt x="401" y="560"/>
                  </a:cubicBezTo>
                  <a:cubicBezTo>
                    <a:pt x="401" y="629"/>
                    <a:pt x="401" y="629"/>
                    <a:pt x="401" y="629"/>
                  </a:cubicBezTo>
                  <a:cubicBezTo>
                    <a:pt x="379" y="629"/>
                    <a:pt x="379" y="629"/>
                    <a:pt x="379" y="629"/>
                  </a:cubicBezTo>
                  <a:cubicBezTo>
                    <a:pt x="379" y="629"/>
                    <a:pt x="379" y="629"/>
                    <a:pt x="379" y="629"/>
                  </a:cubicBezTo>
                  <a:cubicBezTo>
                    <a:pt x="286" y="629"/>
                    <a:pt x="286" y="629"/>
                    <a:pt x="286" y="629"/>
                  </a:cubicBezTo>
                  <a:cubicBezTo>
                    <a:pt x="286" y="513"/>
                    <a:pt x="286" y="513"/>
                    <a:pt x="286" y="513"/>
                  </a:cubicBezTo>
                  <a:cubicBezTo>
                    <a:pt x="348" y="443"/>
                    <a:pt x="348" y="443"/>
                    <a:pt x="348" y="443"/>
                  </a:cubicBezTo>
                  <a:cubicBezTo>
                    <a:pt x="354" y="436"/>
                    <a:pt x="355" y="427"/>
                    <a:pt x="351" y="419"/>
                  </a:cubicBezTo>
                  <a:cubicBezTo>
                    <a:pt x="348" y="411"/>
                    <a:pt x="340" y="406"/>
                    <a:pt x="331" y="406"/>
                  </a:cubicBezTo>
                  <a:cubicBezTo>
                    <a:pt x="280" y="406"/>
                    <a:pt x="280" y="406"/>
                    <a:pt x="280" y="406"/>
                  </a:cubicBezTo>
                  <a:cubicBezTo>
                    <a:pt x="327" y="355"/>
                    <a:pt x="327" y="355"/>
                    <a:pt x="327" y="355"/>
                  </a:cubicBezTo>
                  <a:cubicBezTo>
                    <a:pt x="332" y="348"/>
                    <a:pt x="334" y="339"/>
                    <a:pt x="330" y="331"/>
                  </a:cubicBezTo>
                  <a:cubicBezTo>
                    <a:pt x="327" y="323"/>
                    <a:pt x="319" y="318"/>
                    <a:pt x="310" y="318"/>
                  </a:cubicBezTo>
                  <a:cubicBezTo>
                    <a:pt x="270" y="318"/>
                    <a:pt x="270" y="318"/>
                    <a:pt x="270" y="318"/>
                  </a:cubicBezTo>
                  <a:cubicBezTo>
                    <a:pt x="324" y="252"/>
                    <a:pt x="324" y="252"/>
                    <a:pt x="324" y="252"/>
                  </a:cubicBezTo>
                  <a:cubicBezTo>
                    <a:pt x="331" y="243"/>
                    <a:pt x="330" y="229"/>
                    <a:pt x="320" y="221"/>
                  </a:cubicBezTo>
                  <a:cubicBezTo>
                    <a:pt x="311" y="214"/>
                    <a:pt x="297" y="215"/>
                    <a:pt x="290" y="225"/>
                  </a:cubicBezTo>
                  <a:cubicBezTo>
                    <a:pt x="207" y="326"/>
                    <a:pt x="207" y="326"/>
                    <a:pt x="207" y="326"/>
                  </a:cubicBezTo>
                  <a:cubicBezTo>
                    <a:pt x="201" y="333"/>
                    <a:pt x="200" y="342"/>
                    <a:pt x="204" y="349"/>
                  </a:cubicBezTo>
                  <a:cubicBezTo>
                    <a:pt x="208" y="357"/>
                    <a:pt x="215" y="362"/>
                    <a:pt x="224" y="362"/>
                  </a:cubicBezTo>
                  <a:cubicBezTo>
                    <a:pt x="261" y="362"/>
                    <a:pt x="261" y="362"/>
                    <a:pt x="261" y="362"/>
                  </a:cubicBezTo>
                  <a:cubicBezTo>
                    <a:pt x="215" y="414"/>
                    <a:pt x="215" y="414"/>
                    <a:pt x="215" y="414"/>
                  </a:cubicBezTo>
                  <a:cubicBezTo>
                    <a:pt x="209" y="420"/>
                    <a:pt x="208" y="429"/>
                    <a:pt x="211" y="437"/>
                  </a:cubicBezTo>
                  <a:cubicBezTo>
                    <a:pt x="215" y="445"/>
                    <a:pt x="223" y="450"/>
                    <a:pt x="231" y="450"/>
                  </a:cubicBezTo>
                  <a:cubicBezTo>
                    <a:pt x="283" y="450"/>
                    <a:pt x="283" y="450"/>
                    <a:pt x="283" y="450"/>
                  </a:cubicBezTo>
                  <a:cubicBezTo>
                    <a:pt x="247" y="490"/>
                    <a:pt x="247" y="490"/>
                    <a:pt x="247" y="490"/>
                  </a:cubicBezTo>
                  <a:cubicBezTo>
                    <a:pt x="244" y="494"/>
                    <a:pt x="242" y="499"/>
                    <a:pt x="242" y="505"/>
                  </a:cubicBezTo>
                  <a:cubicBezTo>
                    <a:pt x="242" y="629"/>
                    <a:pt x="242" y="629"/>
                    <a:pt x="242" y="629"/>
                  </a:cubicBezTo>
                  <a:cubicBezTo>
                    <a:pt x="149" y="629"/>
                    <a:pt x="149" y="629"/>
                    <a:pt x="149" y="629"/>
                  </a:cubicBezTo>
                  <a:cubicBezTo>
                    <a:pt x="149" y="629"/>
                    <a:pt x="149" y="629"/>
                    <a:pt x="149" y="629"/>
                  </a:cubicBezTo>
                  <a:cubicBezTo>
                    <a:pt x="127" y="629"/>
                    <a:pt x="127" y="629"/>
                    <a:pt x="127" y="629"/>
                  </a:cubicBezTo>
                  <a:cubicBezTo>
                    <a:pt x="127" y="560"/>
                    <a:pt x="127" y="560"/>
                    <a:pt x="127" y="560"/>
                  </a:cubicBezTo>
                  <a:cubicBezTo>
                    <a:pt x="127" y="497"/>
                    <a:pt x="66" y="440"/>
                    <a:pt x="66" y="439"/>
                  </a:cubicBezTo>
                  <a:cubicBezTo>
                    <a:pt x="64" y="437"/>
                    <a:pt x="64" y="437"/>
                    <a:pt x="64" y="437"/>
                  </a:cubicBezTo>
                  <a:cubicBezTo>
                    <a:pt x="22" y="389"/>
                    <a:pt x="0" y="328"/>
                    <a:pt x="0" y="264"/>
                  </a:cubicBezTo>
                  <a:cubicBezTo>
                    <a:pt x="0" y="119"/>
                    <a:pt x="118" y="0"/>
                    <a:pt x="264" y="0"/>
                  </a:cubicBezTo>
                  <a:cubicBezTo>
                    <a:pt x="410" y="0"/>
                    <a:pt x="528" y="119"/>
                    <a:pt x="528" y="264"/>
                  </a:cubicBezTo>
                  <a:close/>
                  <a:moveTo>
                    <a:pt x="364" y="783"/>
                  </a:moveTo>
                  <a:cubicBezTo>
                    <a:pt x="164" y="783"/>
                    <a:pt x="164" y="783"/>
                    <a:pt x="164" y="783"/>
                  </a:cubicBezTo>
                  <a:cubicBezTo>
                    <a:pt x="152" y="783"/>
                    <a:pt x="142" y="793"/>
                    <a:pt x="142" y="805"/>
                  </a:cubicBezTo>
                  <a:cubicBezTo>
                    <a:pt x="142" y="834"/>
                    <a:pt x="142" y="834"/>
                    <a:pt x="142" y="834"/>
                  </a:cubicBezTo>
                  <a:cubicBezTo>
                    <a:pt x="142" y="843"/>
                    <a:pt x="147" y="850"/>
                    <a:pt x="154" y="854"/>
                  </a:cubicBezTo>
                  <a:cubicBezTo>
                    <a:pt x="205" y="878"/>
                    <a:pt x="253" y="876"/>
                    <a:pt x="264" y="876"/>
                  </a:cubicBezTo>
                  <a:cubicBezTo>
                    <a:pt x="266" y="876"/>
                    <a:pt x="270" y="876"/>
                    <a:pt x="276" y="876"/>
                  </a:cubicBezTo>
                  <a:cubicBezTo>
                    <a:pt x="296" y="876"/>
                    <a:pt x="334" y="873"/>
                    <a:pt x="374" y="854"/>
                  </a:cubicBezTo>
                  <a:cubicBezTo>
                    <a:pt x="381" y="850"/>
                    <a:pt x="386" y="843"/>
                    <a:pt x="386" y="834"/>
                  </a:cubicBezTo>
                  <a:cubicBezTo>
                    <a:pt x="386" y="805"/>
                    <a:pt x="386" y="805"/>
                    <a:pt x="386" y="805"/>
                  </a:cubicBezTo>
                  <a:cubicBezTo>
                    <a:pt x="386" y="793"/>
                    <a:pt x="376" y="783"/>
                    <a:pt x="364" y="783"/>
                  </a:cubicBezTo>
                  <a:close/>
                  <a:moveTo>
                    <a:pt x="402" y="721"/>
                  </a:moveTo>
                  <a:cubicBezTo>
                    <a:pt x="126" y="721"/>
                    <a:pt x="126" y="721"/>
                    <a:pt x="126" y="721"/>
                  </a:cubicBezTo>
                  <a:cubicBezTo>
                    <a:pt x="114" y="721"/>
                    <a:pt x="104" y="731"/>
                    <a:pt x="104" y="743"/>
                  </a:cubicBezTo>
                  <a:cubicBezTo>
                    <a:pt x="104" y="755"/>
                    <a:pt x="114" y="765"/>
                    <a:pt x="126" y="765"/>
                  </a:cubicBezTo>
                  <a:cubicBezTo>
                    <a:pt x="402" y="765"/>
                    <a:pt x="402" y="765"/>
                    <a:pt x="402" y="765"/>
                  </a:cubicBezTo>
                  <a:cubicBezTo>
                    <a:pt x="414" y="765"/>
                    <a:pt x="424" y="755"/>
                    <a:pt x="424" y="743"/>
                  </a:cubicBezTo>
                  <a:cubicBezTo>
                    <a:pt x="424" y="731"/>
                    <a:pt x="414" y="721"/>
                    <a:pt x="402" y="721"/>
                  </a:cubicBezTo>
                  <a:close/>
                  <a:moveTo>
                    <a:pt x="126" y="704"/>
                  </a:moveTo>
                  <a:cubicBezTo>
                    <a:pt x="402" y="704"/>
                    <a:pt x="402" y="704"/>
                    <a:pt x="402" y="704"/>
                  </a:cubicBezTo>
                  <a:cubicBezTo>
                    <a:pt x="414" y="704"/>
                    <a:pt x="424" y="694"/>
                    <a:pt x="424" y="682"/>
                  </a:cubicBezTo>
                  <a:cubicBezTo>
                    <a:pt x="424" y="670"/>
                    <a:pt x="414" y="660"/>
                    <a:pt x="402" y="660"/>
                  </a:cubicBezTo>
                  <a:cubicBezTo>
                    <a:pt x="126" y="660"/>
                    <a:pt x="126" y="660"/>
                    <a:pt x="126" y="660"/>
                  </a:cubicBezTo>
                  <a:cubicBezTo>
                    <a:pt x="114" y="660"/>
                    <a:pt x="104" y="670"/>
                    <a:pt x="104" y="682"/>
                  </a:cubicBezTo>
                  <a:cubicBezTo>
                    <a:pt x="104" y="694"/>
                    <a:pt x="114" y="704"/>
                    <a:pt x="126" y="70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4" name="Oval 20">
            <a:extLst>
              <a:ext uri="{FF2B5EF4-FFF2-40B4-BE49-F238E27FC236}">
                <a16:creationId xmlns:a16="http://schemas.microsoft.com/office/drawing/2014/main" id="{CFFC003B-9555-4147-8FF8-C3325949182C}"/>
              </a:ext>
            </a:extLst>
          </p:cNvPr>
          <p:cNvSpPr>
            <a:spLocks noChangeAspect="1" noChangeArrowheads="1"/>
          </p:cNvSpPr>
          <p:nvPr/>
        </p:nvSpPr>
        <p:spPr bwMode="auto">
          <a:xfrm>
            <a:off x="1053613" y="1798989"/>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85" name="Oval 20">
            <a:extLst>
              <a:ext uri="{FF2B5EF4-FFF2-40B4-BE49-F238E27FC236}">
                <a16:creationId xmlns:a16="http://schemas.microsoft.com/office/drawing/2014/main" id="{9EB67D8A-2D66-41A7-8997-FCCA2FB6AF9F}"/>
              </a:ext>
            </a:extLst>
          </p:cNvPr>
          <p:cNvSpPr>
            <a:spLocks noChangeAspect="1" noChangeArrowheads="1"/>
          </p:cNvSpPr>
          <p:nvPr/>
        </p:nvSpPr>
        <p:spPr bwMode="auto">
          <a:xfrm>
            <a:off x="3876639" y="1798989"/>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86" name="Oval 20">
            <a:extLst>
              <a:ext uri="{FF2B5EF4-FFF2-40B4-BE49-F238E27FC236}">
                <a16:creationId xmlns:a16="http://schemas.microsoft.com/office/drawing/2014/main" id="{3BAA6FB6-AE65-4FF2-8219-171B6A74CC14}"/>
              </a:ext>
            </a:extLst>
          </p:cNvPr>
          <p:cNvSpPr>
            <a:spLocks noChangeAspect="1" noChangeArrowheads="1"/>
          </p:cNvSpPr>
          <p:nvPr/>
        </p:nvSpPr>
        <p:spPr bwMode="auto">
          <a:xfrm>
            <a:off x="6608543" y="1798989"/>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87" name="Oval 20">
            <a:extLst>
              <a:ext uri="{FF2B5EF4-FFF2-40B4-BE49-F238E27FC236}">
                <a16:creationId xmlns:a16="http://schemas.microsoft.com/office/drawing/2014/main" id="{C476A0EC-F800-4E86-834D-65C134F92B05}"/>
              </a:ext>
            </a:extLst>
          </p:cNvPr>
          <p:cNvSpPr>
            <a:spLocks noChangeAspect="1" noChangeArrowheads="1"/>
          </p:cNvSpPr>
          <p:nvPr/>
        </p:nvSpPr>
        <p:spPr bwMode="auto">
          <a:xfrm>
            <a:off x="9549167" y="1798989"/>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88" name="Oval 20">
            <a:extLst>
              <a:ext uri="{FF2B5EF4-FFF2-40B4-BE49-F238E27FC236}">
                <a16:creationId xmlns:a16="http://schemas.microsoft.com/office/drawing/2014/main" id="{F62DB84D-8D76-42D4-9749-077661C5F523}"/>
              </a:ext>
            </a:extLst>
          </p:cNvPr>
          <p:cNvSpPr>
            <a:spLocks noChangeAspect="1" noChangeArrowheads="1"/>
          </p:cNvSpPr>
          <p:nvPr/>
        </p:nvSpPr>
        <p:spPr bwMode="auto">
          <a:xfrm>
            <a:off x="9549167" y="393908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8</a:t>
            </a:r>
          </a:p>
        </p:txBody>
      </p:sp>
      <p:sp>
        <p:nvSpPr>
          <p:cNvPr id="89" name="Oval 20">
            <a:extLst>
              <a:ext uri="{FF2B5EF4-FFF2-40B4-BE49-F238E27FC236}">
                <a16:creationId xmlns:a16="http://schemas.microsoft.com/office/drawing/2014/main" id="{2ADB36EC-9D3E-4020-AD26-02641CAFC872}"/>
              </a:ext>
            </a:extLst>
          </p:cNvPr>
          <p:cNvSpPr>
            <a:spLocks noChangeAspect="1" noChangeArrowheads="1"/>
          </p:cNvSpPr>
          <p:nvPr/>
        </p:nvSpPr>
        <p:spPr bwMode="auto">
          <a:xfrm>
            <a:off x="6783154" y="393908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7</a:t>
            </a:r>
          </a:p>
        </p:txBody>
      </p:sp>
      <p:sp>
        <p:nvSpPr>
          <p:cNvPr id="90" name="Oval 20">
            <a:extLst>
              <a:ext uri="{FF2B5EF4-FFF2-40B4-BE49-F238E27FC236}">
                <a16:creationId xmlns:a16="http://schemas.microsoft.com/office/drawing/2014/main" id="{490CB72C-18EF-42A9-9788-4C715C02DADD}"/>
              </a:ext>
            </a:extLst>
          </p:cNvPr>
          <p:cNvSpPr>
            <a:spLocks noChangeAspect="1" noChangeArrowheads="1"/>
          </p:cNvSpPr>
          <p:nvPr/>
        </p:nvSpPr>
        <p:spPr bwMode="auto">
          <a:xfrm>
            <a:off x="3765735" y="393908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6</a:t>
            </a:r>
          </a:p>
        </p:txBody>
      </p:sp>
      <p:sp>
        <p:nvSpPr>
          <p:cNvPr id="91" name="Oval 20">
            <a:extLst>
              <a:ext uri="{FF2B5EF4-FFF2-40B4-BE49-F238E27FC236}">
                <a16:creationId xmlns:a16="http://schemas.microsoft.com/office/drawing/2014/main" id="{A8CF56D5-8F79-4BE6-996A-8F4586581272}"/>
              </a:ext>
            </a:extLst>
          </p:cNvPr>
          <p:cNvSpPr>
            <a:spLocks noChangeAspect="1" noChangeArrowheads="1"/>
          </p:cNvSpPr>
          <p:nvPr/>
        </p:nvSpPr>
        <p:spPr bwMode="auto">
          <a:xfrm>
            <a:off x="1127642" y="393908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Tree>
    <p:extLst>
      <p:ext uri="{BB962C8B-B14F-4D97-AF65-F5344CB8AC3E}">
        <p14:creationId xmlns:p14="http://schemas.microsoft.com/office/powerpoint/2010/main" val="3310839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6649" name="think-cell Slide" r:id="rId7" imgW="498" imgH="499" progId="TCLayout.ActiveDocument.1">
                  <p:embed/>
                </p:oleObj>
              </mc:Choice>
              <mc:Fallback>
                <p:oleObj name="think-cell Slide" r:id="rId7" imgW="498" imgH="499"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Now, it's time for a 4-hour working session </a:t>
            </a:r>
          </a:p>
        </p:txBody>
      </p:sp>
      <p:sp>
        <p:nvSpPr>
          <p:cNvPr id="6" name="TextBox 5"/>
          <p:cNvSpPr txBox="1"/>
          <p:nvPr/>
        </p:nvSpPr>
        <p:spPr>
          <a:xfrm>
            <a:off x="706582" y="1817610"/>
            <a:ext cx="10699667" cy="43819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Start by gathering all the documents you have at your disposal, and having a quick look at them</a:t>
            </a:r>
          </a:p>
          <a:p>
            <a:endParaRPr lang="en-US" dirty="0">
              <a:solidFill>
                <a:srgbClr val="575757"/>
              </a:solidFill>
            </a:endParaRP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Divide the case into modules and assign each one of you to a module. Be careful to:</a:t>
            </a:r>
          </a:p>
          <a:p>
            <a:pPr marL="648000" lvl="2"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Take into account everyone's personal constraints, and ways of working (Who is more of a last-minute person? Who is the most organized one?)</a:t>
            </a:r>
          </a:p>
          <a:p>
            <a:pPr marL="648000" lvl="2"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Give the same workload to everyone</a:t>
            </a:r>
          </a:p>
          <a:p>
            <a:pPr marL="648000" lvl="2"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Share your preferences and strengths (Are you analytical? Do you have a good business-sense?)</a:t>
            </a:r>
          </a:p>
          <a:p>
            <a:pPr marL="648000" lvl="2" indent="-216000">
              <a:buClr>
                <a:schemeClr val="tx2">
                  <a:lumMod val="100000"/>
                </a:schemeClr>
              </a:buClr>
              <a:buSzPct val="100000"/>
              <a:buFont typeface="Trebuchet MS" panose="020B0603020202020204" pitchFamily="34" charset="0"/>
              <a:buChar char="–"/>
            </a:pPr>
            <a:endParaRPr lang="en-US"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Draft your first storyline: that will really help you organize your work and crack the case!</a:t>
            </a:r>
          </a:p>
          <a:p>
            <a:pPr marL="324000" lvl="1" indent="-216000">
              <a:buClr>
                <a:schemeClr val="tx2">
                  <a:lumMod val="100000"/>
                </a:schemeClr>
              </a:buClr>
              <a:buSzPct val="100000"/>
              <a:buFont typeface="Trebuchet MS" panose="020B0603020202020204" pitchFamily="34" charset="0"/>
              <a:buChar char="•"/>
            </a:pPr>
            <a:endParaRPr lang="en-US"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Identify &amp; prioritize the use cases you'd like to further analyze</a:t>
            </a:r>
          </a:p>
          <a:p>
            <a:pPr marL="324000" lvl="1" indent="-216000">
              <a:buClr>
                <a:schemeClr val="tx2">
                  <a:lumMod val="100000"/>
                </a:schemeClr>
              </a:buClr>
              <a:buSzPct val="100000"/>
              <a:buFont typeface="Trebuchet MS" panose="020B0603020202020204" pitchFamily="34" charset="0"/>
              <a:buChar char="•"/>
            </a:pPr>
            <a:endParaRPr lang="en-US"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Prepare for tomorrow's case team meeting with BCG coaches acting as partners</a:t>
            </a:r>
            <a:endParaRPr lang="en-US" dirty="0">
              <a:solidFill>
                <a:srgbClr val="E71C57"/>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endParaRPr lang="en-US" dirty="0">
              <a:solidFill>
                <a:srgbClr val="E71C57"/>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dirty="0">
                <a:solidFill>
                  <a:srgbClr val="E71C57"/>
                </a:solidFill>
                <a:latin typeface="Trebuchet MS" panose="020B0603020202020204" pitchFamily="34" charset="0"/>
              </a:rPr>
              <a:t>Do not hesitate to reach out to your BCG facilitators during work sessions !</a:t>
            </a:r>
            <a:endParaRPr lang="en-US" dirty="0">
              <a:solidFill>
                <a:srgbClr val="575757"/>
              </a:solidFill>
            </a:endParaRPr>
          </a:p>
          <a:p>
            <a:endParaRPr lang="en-US" dirty="0" err="1">
              <a:solidFill>
                <a:srgbClr val="575757"/>
              </a:solidFill>
            </a:endParaRPr>
          </a:p>
        </p:txBody>
      </p:sp>
      <p:sp>
        <p:nvSpPr>
          <p:cNvPr id="8" name="TextBox 7"/>
          <p:cNvSpPr txBox="1"/>
          <p:nvPr/>
        </p:nvSpPr>
        <p:spPr>
          <a:xfrm>
            <a:off x="7216635" y="5982536"/>
            <a:ext cx="2952205" cy="6601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29BA74"/>
                </a:solidFill>
              </a:rPr>
              <a:t>Good luck!</a:t>
            </a:r>
          </a:p>
        </p:txBody>
      </p:sp>
      <p:grpSp>
        <p:nvGrpSpPr>
          <p:cNvPr id="9" name="Group 8"/>
          <p:cNvGrpSpPr>
            <a:grpSpLocks noChangeAspect="1"/>
          </p:cNvGrpSpPr>
          <p:nvPr/>
        </p:nvGrpSpPr>
        <p:grpSpPr>
          <a:xfrm>
            <a:off x="7639792" y="6104812"/>
            <a:ext cx="415636" cy="415636"/>
            <a:chOff x="5867400" y="3200400"/>
            <a:chExt cx="457200" cy="457200"/>
          </a:xfrm>
        </p:grpSpPr>
        <p:sp>
          <p:nvSpPr>
            <p:cNvPr id="10" name="AutoShape 3"/>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0"/>
            <p:cNvSpPr>
              <a:spLocks noChangeArrowheads="1"/>
            </p:cNvSpPr>
            <p:nvPr/>
          </p:nvSpPr>
          <p:spPr bwMode="auto">
            <a:xfrm>
              <a:off x="5894387" y="3227387"/>
              <a:ext cx="403226" cy="403226"/>
            </a:xfrm>
            <a:custGeom>
              <a:avLst/>
              <a:gdLst>
                <a:gd name="connsiteX0" fmla="*/ 108759 w 403226"/>
                <a:gd name="connsiteY0" fmla="*/ 227012 h 403226"/>
                <a:gd name="connsiteX1" fmla="*/ 101881 w 403226"/>
                <a:gd name="connsiteY1" fmla="*/ 229752 h 403226"/>
                <a:gd name="connsiteX2" fmla="*/ 100506 w 403226"/>
                <a:gd name="connsiteY2" fmla="*/ 244366 h 403226"/>
                <a:gd name="connsiteX3" fmla="*/ 101423 w 403226"/>
                <a:gd name="connsiteY3" fmla="*/ 245736 h 403226"/>
                <a:gd name="connsiteX4" fmla="*/ 200924 w 403226"/>
                <a:gd name="connsiteY4" fmla="*/ 293687 h 403226"/>
                <a:gd name="connsiteX5" fmla="*/ 201842 w 403226"/>
                <a:gd name="connsiteY5" fmla="*/ 293687 h 403226"/>
                <a:gd name="connsiteX6" fmla="*/ 301802 w 403226"/>
                <a:gd name="connsiteY6" fmla="*/ 245736 h 403226"/>
                <a:gd name="connsiteX7" fmla="*/ 302260 w 403226"/>
                <a:gd name="connsiteY7" fmla="*/ 244366 h 403226"/>
                <a:gd name="connsiteX8" fmla="*/ 300885 w 403226"/>
                <a:gd name="connsiteY8" fmla="*/ 229752 h 403226"/>
                <a:gd name="connsiteX9" fmla="*/ 294465 w 403226"/>
                <a:gd name="connsiteY9" fmla="*/ 227012 h 403226"/>
                <a:gd name="connsiteX10" fmla="*/ 286212 w 403226"/>
                <a:gd name="connsiteY10" fmla="*/ 231122 h 403226"/>
                <a:gd name="connsiteX11" fmla="*/ 285295 w 403226"/>
                <a:gd name="connsiteY11" fmla="*/ 232492 h 403226"/>
                <a:gd name="connsiteX12" fmla="*/ 201842 w 403226"/>
                <a:gd name="connsiteY12" fmla="*/ 272223 h 403226"/>
                <a:gd name="connsiteX13" fmla="*/ 200924 w 403226"/>
                <a:gd name="connsiteY13" fmla="*/ 272223 h 403226"/>
                <a:gd name="connsiteX14" fmla="*/ 117930 w 403226"/>
                <a:gd name="connsiteY14" fmla="*/ 232492 h 403226"/>
                <a:gd name="connsiteX15" fmla="*/ 116554 w 403226"/>
                <a:gd name="connsiteY15" fmla="*/ 231122 h 403226"/>
                <a:gd name="connsiteX16" fmla="*/ 108759 w 403226"/>
                <a:gd name="connsiteY16" fmla="*/ 227012 h 403226"/>
                <a:gd name="connsiteX17" fmla="*/ 257969 w 403226"/>
                <a:gd name="connsiteY17" fmla="*/ 120650 h 403226"/>
                <a:gd name="connsiteX18" fmla="*/ 234950 w 403226"/>
                <a:gd name="connsiteY18" fmla="*/ 143669 h 403226"/>
                <a:gd name="connsiteX19" fmla="*/ 257969 w 403226"/>
                <a:gd name="connsiteY19" fmla="*/ 166688 h 403226"/>
                <a:gd name="connsiteX20" fmla="*/ 280988 w 403226"/>
                <a:gd name="connsiteY20" fmla="*/ 143669 h 403226"/>
                <a:gd name="connsiteX21" fmla="*/ 257969 w 403226"/>
                <a:gd name="connsiteY21" fmla="*/ 120650 h 403226"/>
                <a:gd name="connsiteX22" fmla="*/ 145256 w 403226"/>
                <a:gd name="connsiteY22" fmla="*/ 120650 h 403226"/>
                <a:gd name="connsiteX23" fmla="*/ 122237 w 403226"/>
                <a:gd name="connsiteY23" fmla="*/ 143669 h 403226"/>
                <a:gd name="connsiteX24" fmla="*/ 145256 w 403226"/>
                <a:gd name="connsiteY24" fmla="*/ 166688 h 403226"/>
                <a:gd name="connsiteX25" fmla="*/ 168275 w 403226"/>
                <a:gd name="connsiteY25" fmla="*/ 143669 h 403226"/>
                <a:gd name="connsiteX26" fmla="*/ 145256 w 403226"/>
                <a:gd name="connsiteY26" fmla="*/ 120650 h 403226"/>
                <a:gd name="connsiteX27" fmla="*/ 201613 w 403226"/>
                <a:gd name="connsiteY27" fmla="*/ 41275 h 403226"/>
                <a:gd name="connsiteX28" fmla="*/ 361951 w 403226"/>
                <a:gd name="connsiteY28" fmla="*/ 201613 h 403226"/>
                <a:gd name="connsiteX29" fmla="*/ 201613 w 403226"/>
                <a:gd name="connsiteY29" fmla="*/ 361951 h 403226"/>
                <a:gd name="connsiteX30" fmla="*/ 41275 w 403226"/>
                <a:gd name="connsiteY30" fmla="*/ 201613 h 403226"/>
                <a:gd name="connsiteX31" fmla="*/ 201613 w 403226"/>
                <a:gd name="connsiteY31" fmla="*/ 41275 h 403226"/>
                <a:gd name="connsiteX32" fmla="*/ 201612 w 403226"/>
                <a:gd name="connsiteY32" fmla="*/ 20637 h 403226"/>
                <a:gd name="connsiteX33" fmla="*/ 20637 w 403226"/>
                <a:gd name="connsiteY33" fmla="*/ 201612 h 403226"/>
                <a:gd name="connsiteX34" fmla="*/ 201612 w 403226"/>
                <a:gd name="connsiteY34" fmla="*/ 382587 h 403226"/>
                <a:gd name="connsiteX35" fmla="*/ 382587 w 403226"/>
                <a:gd name="connsiteY35" fmla="*/ 201612 h 403226"/>
                <a:gd name="connsiteX36" fmla="*/ 201612 w 403226"/>
                <a:gd name="connsiteY36" fmla="*/ 20637 h 403226"/>
                <a:gd name="connsiteX37" fmla="*/ 201613 w 403226"/>
                <a:gd name="connsiteY37" fmla="*/ 0 h 403226"/>
                <a:gd name="connsiteX38" fmla="*/ 403226 w 403226"/>
                <a:gd name="connsiteY38" fmla="*/ 201613 h 403226"/>
                <a:gd name="connsiteX39" fmla="*/ 201613 w 403226"/>
                <a:gd name="connsiteY39" fmla="*/ 403226 h 403226"/>
                <a:gd name="connsiteX40" fmla="*/ 0 w 403226"/>
                <a:gd name="connsiteY40" fmla="*/ 201613 h 403226"/>
                <a:gd name="connsiteX41" fmla="*/ 201613 w 403226"/>
                <a:gd name="connsiteY41" fmla="*/ 0 h 40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03226" h="403226">
                  <a:moveTo>
                    <a:pt x="108759" y="227012"/>
                  </a:moveTo>
                  <a:cubicBezTo>
                    <a:pt x="106008" y="227012"/>
                    <a:pt x="103715" y="227925"/>
                    <a:pt x="101881" y="229752"/>
                  </a:cubicBezTo>
                  <a:cubicBezTo>
                    <a:pt x="97296" y="233406"/>
                    <a:pt x="96837" y="240256"/>
                    <a:pt x="100506" y="244366"/>
                  </a:cubicBezTo>
                  <a:cubicBezTo>
                    <a:pt x="100506" y="244366"/>
                    <a:pt x="100506" y="244366"/>
                    <a:pt x="101423" y="245736"/>
                  </a:cubicBezTo>
                  <a:cubicBezTo>
                    <a:pt x="133520" y="285010"/>
                    <a:pt x="173412" y="293687"/>
                    <a:pt x="200924" y="293687"/>
                  </a:cubicBezTo>
                  <a:cubicBezTo>
                    <a:pt x="200924" y="293687"/>
                    <a:pt x="200924" y="293687"/>
                    <a:pt x="201842" y="293687"/>
                  </a:cubicBezTo>
                  <a:cubicBezTo>
                    <a:pt x="229812" y="293687"/>
                    <a:pt x="269705" y="285010"/>
                    <a:pt x="301802" y="245736"/>
                  </a:cubicBezTo>
                  <a:cubicBezTo>
                    <a:pt x="301802" y="245736"/>
                    <a:pt x="301802" y="245736"/>
                    <a:pt x="302260" y="244366"/>
                  </a:cubicBezTo>
                  <a:cubicBezTo>
                    <a:pt x="306387" y="240256"/>
                    <a:pt x="305929" y="233406"/>
                    <a:pt x="300885" y="229752"/>
                  </a:cubicBezTo>
                  <a:cubicBezTo>
                    <a:pt x="299051" y="227925"/>
                    <a:pt x="296758" y="227012"/>
                    <a:pt x="294465" y="227012"/>
                  </a:cubicBezTo>
                  <a:cubicBezTo>
                    <a:pt x="291256" y="227012"/>
                    <a:pt x="288046" y="228382"/>
                    <a:pt x="286212" y="231122"/>
                  </a:cubicBezTo>
                  <a:cubicBezTo>
                    <a:pt x="285753" y="231579"/>
                    <a:pt x="285295" y="231579"/>
                    <a:pt x="285295" y="232492"/>
                  </a:cubicBezTo>
                  <a:cubicBezTo>
                    <a:pt x="258241" y="265373"/>
                    <a:pt x="224768" y="272223"/>
                    <a:pt x="201842" y="272223"/>
                  </a:cubicBezTo>
                  <a:cubicBezTo>
                    <a:pt x="201842" y="272223"/>
                    <a:pt x="201842" y="272223"/>
                    <a:pt x="200924" y="272223"/>
                  </a:cubicBezTo>
                  <a:cubicBezTo>
                    <a:pt x="177998" y="272223"/>
                    <a:pt x="144525" y="265373"/>
                    <a:pt x="117930" y="232492"/>
                  </a:cubicBezTo>
                  <a:cubicBezTo>
                    <a:pt x="117471" y="231579"/>
                    <a:pt x="117013" y="231579"/>
                    <a:pt x="116554" y="231122"/>
                  </a:cubicBezTo>
                  <a:cubicBezTo>
                    <a:pt x="114720" y="228382"/>
                    <a:pt x="111510" y="227012"/>
                    <a:pt x="108759" y="227012"/>
                  </a:cubicBezTo>
                  <a:close/>
                  <a:moveTo>
                    <a:pt x="257969" y="120650"/>
                  </a:moveTo>
                  <a:cubicBezTo>
                    <a:pt x="245256" y="120650"/>
                    <a:pt x="234950" y="130956"/>
                    <a:pt x="234950" y="143669"/>
                  </a:cubicBezTo>
                  <a:cubicBezTo>
                    <a:pt x="234950" y="156382"/>
                    <a:pt x="245256" y="166688"/>
                    <a:pt x="257969" y="166688"/>
                  </a:cubicBezTo>
                  <a:cubicBezTo>
                    <a:pt x="270682" y="166688"/>
                    <a:pt x="280988" y="156382"/>
                    <a:pt x="280988" y="143669"/>
                  </a:cubicBezTo>
                  <a:cubicBezTo>
                    <a:pt x="280988" y="130956"/>
                    <a:pt x="270682" y="120650"/>
                    <a:pt x="257969" y="120650"/>
                  </a:cubicBezTo>
                  <a:close/>
                  <a:moveTo>
                    <a:pt x="145256" y="120650"/>
                  </a:moveTo>
                  <a:cubicBezTo>
                    <a:pt x="132543" y="120650"/>
                    <a:pt x="122237" y="130956"/>
                    <a:pt x="122237" y="143669"/>
                  </a:cubicBezTo>
                  <a:cubicBezTo>
                    <a:pt x="122237" y="156382"/>
                    <a:pt x="132543" y="166688"/>
                    <a:pt x="145256" y="166688"/>
                  </a:cubicBezTo>
                  <a:cubicBezTo>
                    <a:pt x="157969" y="166688"/>
                    <a:pt x="168275" y="156382"/>
                    <a:pt x="168275" y="143669"/>
                  </a:cubicBezTo>
                  <a:cubicBezTo>
                    <a:pt x="168275" y="130956"/>
                    <a:pt x="157969" y="120650"/>
                    <a:pt x="145256" y="120650"/>
                  </a:cubicBezTo>
                  <a:close/>
                  <a:moveTo>
                    <a:pt x="201613" y="41275"/>
                  </a:moveTo>
                  <a:cubicBezTo>
                    <a:pt x="290165" y="41275"/>
                    <a:pt x="361951" y="113061"/>
                    <a:pt x="361951" y="201613"/>
                  </a:cubicBezTo>
                  <a:cubicBezTo>
                    <a:pt x="361951" y="290165"/>
                    <a:pt x="290165" y="361951"/>
                    <a:pt x="201613" y="361951"/>
                  </a:cubicBezTo>
                  <a:cubicBezTo>
                    <a:pt x="113061" y="361951"/>
                    <a:pt x="41275" y="290165"/>
                    <a:pt x="41275" y="201613"/>
                  </a:cubicBezTo>
                  <a:cubicBezTo>
                    <a:pt x="41275" y="113061"/>
                    <a:pt x="113061" y="41275"/>
                    <a:pt x="201613" y="41275"/>
                  </a:cubicBezTo>
                  <a:close/>
                  <a:moveTo>
                    <a:pt x="201612" y="20637"/>
                  </a:moveTo>
                  <a:cubicBezTo>
                    <a:pt x="101662" y="20637"/>
                    <a:pt x="20637" y="101662"/>
                    <a:pt x="20637" y="201612"/>
                  </a:cubicBezTo>
                  <a:cubicBezTo>
                    <a:pt x="20637" y="301562"/>
                    <a:pt x="101662" y="382587"/>
                    <a:pt x="201612" y="382587"/>
                  </a:cubicBezTo>
                  <a:cubicBezTo>
                    <a:pt x="301562" y="382587"/>
                    <a:pt x="382587" y="301562"/>
                    <a:pt x="382587" y="201612"/>
                  </a:cubicBezTo>
                  <a:cubicBezTo>
                    <a:pt x="382587" y="101662"/>
                    <a:pt x="301562" y="20637"/>
                    <a:pt x="201612" y="20637"/>
                  </a:cubicBezTo>
                  <a:close/>
                  <a:moveTo>
                    <a:pt x="201613" y="0"/>
                  </a:moveTo>
                  <a:cubicBezTo>
                    <a:pt x="312961" y="0"/>
                    <a:pt x="403226" y="90265"/>
                    <a:pt x="403226" y="201613"/>
                  </a:cubicBezTo>
                  <a:cubicBezTo>
                    <a:pt x="403226" y="312961"/>
                    <a:pt x="312961" y="403226"/>
                    <a:pt x="201613" y="403226"/>
                  </a:cubicBezTo>
                  <a:cubicBezTo>
                    <a:pt x="90265" y="403226"/>
                    <a:pt x="0" y="312961"/>
                    <a:pt x="0" y="201613"/>
                  </a:cubicBezTo>
                  <a:cubicBezTo>
                    <a:pt x="0" y="90265"/>
                    <a:pt x="90265" y="0"/>
                    <a:pt x="201613"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2759432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7F00C2-B5BB-234A-8C01-B1DD2EBB127D}"/>
              </a:ext>
            </a:extLst>
          </p:cNvPr>
          <p:cNvGraphicFramePr>
            <a:graphicFrameLocks noChangeAspect="1"/>
          </p:cNvGraphicFramePr>
          <p:nvPr>
            <p:custDataLst>
              <p:tags r:id="rId3"/>
            </p:custDataLst>
            <p:extLst>
              <p:ext uri="{D42A27DB-BD31-4B8C-83A1-F6EECF244321}">
                <p14:modId xmlns:p14="http://schemas.microsoft.com/office/powerpoint/2010/main" val="38808327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95628"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6D7F00C2-B5BB-234A-8C01-B1DD2EBB127D}"/>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88B264-64B7-5C42-9924-F9AE8F27DE61}"/>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429975" y="2681103"/>
            <a:ext cx="3399075" cy="1495794"/>
          </a:xfrm>
        </p:spPr>
        <p:txBody>
          <a:bodyPr/>
          <a:lstStyle/>
          <a:p>
            <a:r>
              <a:rPr lang="en-US" dirty="0"/>
              <a:t>Did you enjoy the case study? Interested in what we do?</a:t>
            </a:r>
            <a:br>
              <a:rPr lang="en-US" dirty="0"/>
            </a:br>
            <a:br>
              <a:rPr lang="en-US" sz="2800" dirty="0"/>
            </a:br>
            <a:r>
              <a:rPr lang="en-US" sz="2000" dirty="0"/>
              <a:t>Reach out to </a:t>
            </a:r>
            <a:br>
              <a:rPr lang="en-US" sz="2000" dirty="0"/>
            </a:br>
            <a:r>
              <a:rPr lang="en-US" sz="2000" u="sng" dirty="0">
                <a:hlinkClick r:id="rId9"/>
              </a:rPr>
              <a:t>Breavoine.Marie@bcg.com</a:t>
            </a:r>
            <a:endParaRPr lang="en-US" sz="2800" dirty="0"/>
          </a:p>
        </p:txBody>
      </p:sp>
      <p:pic>
        <p:nvPicPr>
          <p:cNvPr id="10" name="Picture 9">
            <a:extLst>
              <a:ext uri="{FF2B5EF4-FFF2-40B4-BE49-F238E27FC236}">
                <a16:creationId xmlns:a16="http://schemas.microsoft.com/office/drawing/2014/main" id="{0DACF50B-A2E4-41CE-BD58-384EFAD54D53}"/>
              </a:ext>
            </a:extLst>
          </p:cNvPr>
          <p:cNvPicPr>
            <a:picLocks noChangeAspect="1"/>
          </p:cNvPicPr>
          <p:nvPr/>
        </p:nvPicPr>
        <p:blipFill rotWithShape="1">
          <a:blip r:embed="rId10">
            <a:extLst>
              <a:ext uri="{28A0092B-C50C-407E-A947-70E740481C1C}">
                <a14:useLocalDpi xmlns:a14="http://schemas.microsoft.com/office/drawing/2010/main" val="0"/>
              </a:ext>
            </a:extLst>
          </a:blip>
          <a:srcRect l="21112"/>
          <a:stretch/>
        </p:blipFill>
        <p:spPr>
          <a:xfrm>
            <a:off x="4076700" y="0"/>
            <a:ext cx="8115299" cy="6858000"/>
          </a:xfrm>
          <a:prstGeom prst="rect">
            <a:avLst/>
          </a:prstGeom>
        </p:spPr>
      </p:pic>
    </p:spTree>
    <p:custDataLst>
      <p:tags r:id="rId2"/>
    </p:custDataLst>
    <p:extLst>
      <p:ext uri="{BB962C8B-B14F-4D97-AF65-F5344CB8AC3E}">
        <p14:creationId xmlns:p14="http://schemas.microsoft.com/office/powerpoint/2010/main" val="291021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879F291-4151-40E9-B237-804C3B0D86B8}"/>
              </a:ext>
            </a:extLst>
          </p:cNvPr>
          <p:cNvGraphicFramePr>
            <a:graphicFrameLocks noChangeAspect="1"/>
          </p:cNvGraphicFramePr>
          <p:nvPr>
            <p:custDataLst>
              <p:tags r:id="rId3"/>
            </p:custDataLst>
            <p:extLst>
              <p:ext uri="{D42A27DB-BD31-4B8C-83A1-F6EECF244321}">
                <p14:modId xmlns:p14="http://schemas.microsoft.com/office/powerpoint/2010/main" val="72696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6191" name="think-cell Slide" r:id="rId8" imgW="473" imgH="473" progId="TCLayout.ActiveDocument.1">
                  <p:embed/>
                </p:oleObj>
              </mc:Choice>
              <mc:Fallback>
                <p:oleObj name="think-cell Slide" r:id="rId8" imgW="473" imgH="473"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9EC05A12-D6E3-47FF-AE87-E9FF2EB1EEAD}"/>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5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6256800" cy="346249"/>
          </a:xfrm>
        </p:spPr>
        <p:txBody>
          <a:bodyPr/>
          <a:lstStyle/>
          <a:p>
            <a:r>
              <a:rPr lang="en-US" sz="2500" dirty="0"/>
              <a:t>Quick presentation of your BCG facilitators</a:t>
            </a:r>
          </a:p>
        </p:txBody>
      </p:sp>
      <p:sp>
        <p:nvSpPr>
          <p:cNvPr id="6" name="TextBox 5">
            <a:extLst>
              <a:ext uri="{FF2B5EF4-FFF2-40B4-BE49-F238E27FC236}">
                <a16:creationId xmlns:a16="http://schemas.microsoft.com/office/drawing/2014/main" id="{2ED96BBA-3825-4914-A742-75DFE7215E32}"/>
              </a:ext>
            </a:extLst>
          </p:cNvPr>
          <p:cNvSpPr txBox="1"/>
          <p:nvPr/>
        </p:nvSpPr>
        <p:spPr>
          <a:xfrm>
            <a:off x="212329" y="4052207"/>
            <a:ext cx="3756211" cy="17660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2400" b="1" dirty="0">
                <a:solidFill>
                  <a:srgbClr val="29BA74"/>
                </a:solidFill>
              </a:rPr>
              <a:t>Magali </a:t>
            </a:r>
            <a:r>
              <a:rPr lang="en-US" sz="2400" b="1" dirty="0" err="1">
                <a:solidFill>
                  <a:srgbClr val="29BA74"/>
                </a:solidFill>
              </a:rPr>
              <a:t>Beffy</a:t>
            </a:r>
            <a:endParaRPr lang="en-US" sz="2400" b="1" dirty="0">
              <a:solidFill>
                <a:srgbClr val="29BA74"/>
              </a:solidFill>
            </a:endParaRPr>
          </a:p>
          <a:p>
            <a:pPr algn="ctr"/>
            <a:r>
              <a:rPr lang="en-US" sz="1600" dirty="0">
                <a:solidFill>
                  <a:srgbClr val="575757"/>
                </a:solidFill>
              </a:rPr>
              <a:t>Lead Data Scientist</a:t>
            </a:r>
          </a:p>
          <a:p>
            <a:pPr algn="ctr"/>
            <a:r>
              <a:rPr lang="en-US" sz="1600" dirty="0" err="1">
                <a:solidFill>
                  <a:srgbClr val="575757"/>
                </a:solidFill>
              </a:rPr>
              <a:t>beffy.magali@bcg.com</a:t>
            </a:r>
            <a:endParaRPr lang="en-US" sz="1600" dirty="0">
              <a:solidFill>
                <a:srgbClr val="575757"/>
              </a:solidFill>
            </a:endParaRPr>
          </a:p>
        </p:txBody>
      </p:sp>
      <p:pic>
        <p:nvPicPr>
          <p:cNvPr id="26" name="Picture 25">
            <a:extLst>
              <a:ext uri="{FF2B5EF4-FFF2-40B4-BE49-F238E27FC236}">
                <a16:creationId xmlns:a16="http://schemas.microsoft.com/office/drawing/2014/main" id="{8C457675-4A33-1548-9F4C-4B8E2B9CBAAA}"/>
              </a:ext>
            </a:extLst>
          </p:cNvPr>
          <p:cNvPicPr>
            <a:picLocks/>
          </p:cNvPicPr>
          <p:nvPr/>
        </p:nvPicPr>
        <p:blipFill>
          <a:blip r:embed="rId10"/>
          <a:stretch>
            <a:fillRect/>
          </a:stretch>
        </p:blipFill>
        <p:spPr>
          <a:xfrm>
            <a:off x="1118140" y="2009149"/>
            <a:ext cx="1944588" cy="1944588"/>
          </a:xfrm>
          <a:prstGeom prst="ellipse">
            <a:avLst/>
          </a:prstGeom>
          <a:grpFill/>
          <a:ln w="38100">
            <a:gradFill flip="none" rotWithShape="1">
              <a:gsLst>
                <a:gs pos="0">
                  <a:schemeClr val="accent2"/>
                </a:gs>
                <a:gs pos="100000">
                  <a:schemeClr val="tx2"/>
                </a:gs>
              </a:gsLst>
              <a:lin ang="2700000" scaled="1"/>
              <a:tileRect/>
            </a:gradFill>
          </a:ln>
        </p:spPr>
      </p:pic>
      <p:pic>
        <p:nvPicPr>
          <p:cNvPr id="25" name="Picture 24">
            <a:extLst>
              <a:ext uri="{FF2B5EF4-FFF2-40B4-BE49-F238E27FC236}">
                <a16:creationId xmlns:a16="http://schemas.microsoft.com/office/drawing/2014/main" id="{0402DAA5-AE41-A741-A420-29FC7FFF1E98}"/>
              </a:ext>
            </a:extLst>
          </p:cNvPr>
          <p:cNvPicPr>
            <a:picLocks noChangeAspect="1"/>
          </p:cNvPicPr>
          <p:nvPr/>
        </p:nvPicPr>
        <p:blipFill>
          <a:blip r:embed="rId11"/>
          <a:stretch>
            <a:fillRect/>
          </a:stretch>
        </p:blipFill>
        <p:spPr>
          <a:xfrm>
            <a:off x="4274894" y="2009149"/>
            <a:ext cx="1980466" cy="1944588"/>
          </a:xfrm>
          <a:prstGeom prst="ellipse">
            <a:avLst/>
          </a:prstGeom>
          <a:grpFill/>
          <a:ln w="38100">
            <a:gradFill flip="none" rotWithShape="1">
              <a:gsLst>
                <a:gs pos="0">
                  <a:schemeClr val="accent2"/>
                </a:gs>
                <a:gs pos="100000">
                  <a:schemeClr val="tx2"/>
                </a:gs>
              </a:gsLst>
              <a:lin ang="2700000" scaled="1"/>
              <a:tileRect/>
            </a:gradFill>
          </a:ln>
        </p:spPr>
      </p:pic>
      <p:sp>
        <p:nvSpPr>
          <p:cNvPr id="9" name="TextBox 8">
            <a:extLst>
              <a:ext uri="{FF2B5EF4-FFF2-40B4-BE49-F238E27FC236}">
                <a16:creationId xmlns:a16="http://schemas.microsoft.com/office/drawing/2014/main" id="{FD3B098A-81A6-4437-9492-5E42C8E3B110}"/>
              </a:ext>
            </a:extLst>
          </p:cNvPr>
          <p:cNvSpPr txBox="1"/>
          <p:nvPr/>
        </p:nvSpPr>
        <p:spPr>
          <a:xfrm>
            <a:off x="3392512" y="4052207"/>
            <a:ext cx="3756211" cy="17660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2400" b="1" dirty="0">
                <a:solidFill>
                  <a:srgbClr val="29BA74"/>
                </a:solidFill>
              </a:rPr>
              <a:t>Xavier Dubois de la </a:t>
            </a:r>
            <a:r>
              <a:rPr lang="en-US" sz="2400" b="1" dirty="0" err="1">
                <a:solidFill>
                  <a:srgbClr val="29BA74"/>
                </a:solidFill>
              </a:rPr>
              <a:t>Sablonière</a:t>
            </a:r>
            <a:endParaRPr lang="en-US" sz="2400" b="1" dirty="0">
              <a:solidFill>
                <a:srgbClr val="29BA74"/>
              </a:solidFill>
            </a:endParaRPr>
          </a:p>
          <a:p>
            <a:pPr algn="ctr"/>
            <a:r>
              <a:rPr lang="en-US" sz="1600" dirty="0">
                <a:solidFill>
                  <a:srgbClr val="575757"/>
                </a:solidFill>
              </a:rPr>
              <a:t>Principal</a:t>
            </a:r>
          </a:p>
          <a:p>
            <a:pPr algn="ctr"/>
            <a:r>
              <a:rPr lang="en-US" sz="1600" dirty="0" err="1">
                <a:solidFill>
                  <a:srgbClr val="575757"/>
                </a:solidFill>
              </a:rPr>
              <a:t>DuboisdelaSabloniere.Xavier@bcg.com</a:t>
            </a:r>
            <a:endParaRPr lang="en-US" sz="1600" dirty="0">
              <a:solidFill>
                <a:srgbClr val="575757"/>
              </a:solidFill>
            </a:endParaRPr>
          </a:p>
        </p:txBody>
      </p:sp>
      <p:sp>
        <p:nvSpPr>
          <p:cNvPr id="18" name="ee4pContent2">
            <a:extLst>
              <a:ext uri="{FF2B5EF4-FFF2-40B4-BE49-F238E27FC236}">
                <a16:creationId xmlns:a16="http://schemas.microsoft.com/office/drawing/2014/main" id="{78089ABA-1EDD-4455-A7F9-994B39F4261A}"/>
              </a:ext>
            </a:extLst>
          </p:cNvPr>
          <p:cNvSpPr txBox="1"/>
          <p:nvPr>
            <p:custDataLst>
              <p:tags r:id="rId5"/>
            </p:custDataLst>
          </p:nvPr>
        </p:nvSpPr>
        <p:spPr>
          <a:xfrm>
            <a:off x="7616951" y="2009149"/>
            <a:ext cx="4032505" cy="3286800"/>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sz="2800" dirty="0">
                <a:solidFill>
                  <a:srgbClr val="D4DF33"/>
                </a:solidFill>
                <a:latin typeface="+mn-lt"/>
              </a:rPr>
              <a:t>Do not hesitate to </a:t>
            </a:r>
            <a:r>
              <a:rPr lang="en-US" sz="2800">
                <a:solidFill>
                  <a:srgbClr val="D4DF33"/>
                </a:solidFill>
                <a:latin typeface="+mn-lt"/>
              </a:rPr>
              <a:t>reach out </a:t>
            </a:r>
            <a:r>
              <a:rPr lang="en-US" sz="2800" dirty="0">
                <a:solidFill>
                  <a:srgbClr val="D4DF33"/>
                </a:solidFill>
                <a:latin typeface="+mn-lt"/>
              </a:rPr>
              <a:t>to your BCG facilitators !</a:t>
            </a:r>
          </a:p>
        </p:txBody>
      </p:sp>
      <p:grpSp>
        <p:nvGrpSpPr>
          <p:cNvPr id="22" name="Group 21">
            <a:extLst>
              <a:ext uri="{FF2B5EF4-FFF2-40B4-BE49-F238E27FC236}">
                <a16:creationId xmlns:a16="http://schemas.microsoft.com/office/drawing/2014/main" id="{9EEBB7F3-4E7C-4AE6-ACBC-D514F3BCFAB8}"/>
              </a:ext>
            </a:extLst>
          </p:cNvPr>
          <p:cNvGrpSpPr>
            <a:grpSpLocks noChangeAspect="1"/>
          </p:cNvGrpSpPr>
          <p:nvPr/>
        </p:nvGrpSpPr>
        <p:grpSpPr>
          <a:xfrm>
            <a:off x="7616951" y="2009149"/>
            <a:ext cx="1169797" cy="1169797"/>
            <a:chOff x="5273040" y="2606040"/>
            <a:chExt cx="1645920" cy="1645920"/>
          </a:xfrm>
        </p:grpSpPr>
        <p:sp>
          <p:nvSpPr>
            <p:cNvPr id="23" name="AutoShape 10">
              <a:extLst>
                <a:ext uri="{FF2B5EF4-FFF2-40B4-BE49-F238E27FC236}">
                  <a16:creationId xmlns:a16="http://schemas.microsoft.com/office/drawing/2014/main" id="{277DCD01-1F89-4648-8A26-6BC4B7977926}"/>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0">
              <a:extLst>
                <a:ext uri="{FF2B5EF4-FFF2-40B4-BE49-F238E27FC236}">
                  <a16:creationId xmlns:a16="http://schemas.microsoft.com/office/drawing/2014/main" id="{84C03D7D-F6B0-4E6F-9561-9441314FB3AF}"/>
                </a:ext>
              </a:extLst>
            </p:cNvPr>
            <p:cNvSpPr>
              <a:spLocks/>
            </p:cNvSpPr>
            <p:nvPr/>
          </p:nvSpPr>
          <p:spPr bwMode="auto">
            <a:xfrm>
              <a:off x="5493600" y="3042286"/>
              <a:ext cx="1205866" cy="773430"/>
            </a:xfrm>
            <a:custGeom>
              <a:avLst/>
              <a:gdLst>
                <a:gd name="connsiteX0" fmla="*/ 811960 w 1205866"/>
                <a:gd name="connsiteY0" fmla="*/ 0 h 773430"/>
                <a:gd name="connsiteX1" fmla="*/ 1205866 w 1205866"/>
                <a:gd name="connsiteY1" fmla="*/ 390004 h 773430"/>
                <a:gd name="connsiteX2" fmla="*/ 811960 w 1205866"/>
                <a:gd name="connsiteY2" fmla="*/ 773430 h 773430"/>
                <a:gd name="connsiteX3" fmla="*/ 812615 w 1205866"/>
                <a:gd name="connsiteY3" fmla="*/ 670175 h 773430"/>
                <a:gd name="connsiteX4" fmla="*/ 832933 w 1205866"/>
                <a:gd name="connsiteY4" fmla="*/ 639264 h 773430"/>
                <a:gd name="connsiteX5" fmla="*/ 1087236 w 1205866"/>
                <a:gd name="connsiteY5" fmla="*/ 395923 h 773430"/>
                <a:gd name="connsiteX6" fmla="*/ 883401 w 1205866"/>
                <a:gd name="connsiteY6" fmla="*/ 190727 h 773430"/>
                <a:gd name="connsiteX7" fmla="*/ 811960 w 1205866"/>
                <a:gd name="connsiteY7" fmla="*/ 11838 h 773430"/>
                <a:gd name="connsiteX8" fmla="*/ 811960 w 1205866"/>
                <a:gd name="connsiteY8" fmla="*/ 0 h 773430"/>
                <a:gd name="connsiteX9" fmla="*/ 591419 w 1205866"/>
                <a:gd name="connsiteY9" fmla="*/ 0 h 773430"/>
                <a:gd name="connsiteX10" fmla="*/ 986790 w 1205866"/>
                <a:gd name="connsiteY10" fmla="*/ 386387 h 773430"/>
                <a:gd name="connsiteX11" fmla="*/ 592730 w 1205866"/>
                <a:gd name="connsiteY11" fmla="*/ 771459 h 773430"/>
                <a:gd name="connsiteX12" fmla="*/ 592730 w 1205866"/>
                <a:gd name="connsiteY12" fmla="*/ 588779 h 773430"/>
                <a:gd name="connsiteX13" fmla="*/ 0 w 1205866"/>
                <a:gd name="connsiteY13" fmla="*/ 773430 h 773430"/>
                <a:gd name="connsiteX14" fmla="*/ 173098 w 1205866"/>
                <a:gd name="connsiteY14" fmla="*/ 360759 h 773430"/>
                <a:gd name="connsiteX15" fmla="*/ 591419 w 1205866"/>
                <a:gd name="connsiteY15" fmla="*/ 190565 h 773430"/>
                <a:gd name="connsiteX16" fmla="*/ 591419 w 1205866"/>
                <a:gd name="connsiteY16" fmla="*/ 0 h 77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5866" h="773430">
                  <a:moveTo>
                    <a:pt x="811960" y="0"/>
                  </a:moveTo>
                  <a:cubicBezTo>
                    <a:pt x="941733" y="128247"/>
                    <a:pt x="1072161" y="257810"/>
                    <a:pt x="1205866" y="390004"/>
                  </a:cubicBezTo>
                  <a:cubicBezTo>
                    <a:pt x="1074783" y="517593"/>
                    <a:pt x="942388" y="646498"/>
                    <a:pt x="811960" y="773430"/>
                  </a:cubicBezTo>
                  <a:cubicBezTo>
                    <a:pt x="811960" y="743177"/>
                    <a:pt x="810649" y="706347"/>
                    <a:pt x="812615" y="670175"/>
                  </a:cubicBezTo>
                  <a:cubicBezTo>
                    <a:pt x="813271" y="659652"/>
                    <a:pt x="824413" y="647814"/>
                    <a:pt x="832933" y="639264"/>
                  </a:cubicBezTo>
                  <a:cubicBezTo>
                    <a:pt x="916827" y="558369"/>
                    <a:pt x="1001376" y="478132"/>
                    <a:pt x="1087236" y="395923"/>
                  </a:cubicBezTo>
                  <a:cubicBezTo>
                    <a:pt x="1013829" y="320947"/>
                    <a:pt x="952219" y="251233"/>
                    <a:pt x="883401" y="190727"/>
                  </a:cubicBezTo>
                  <a:cubicBezTo>
                    <a:pt x="827035" y="140743"/>
                    <a:pt x="798196" y="86814"/>
                    <a:pt x="811960" y="11838"/>
                  </a:cubicBezTo>
                  <a:cubicBezTo>
                    <a:pt x="812615" y="7235"/>
                    <a:pt x="811960" y="1973"/>
                    <a:pt x="811960" y="0"/>
                  </a:cubicBezTo>
                  <a:close/>
                  <a:moveTo>
                    <a:pt x="591419" y="0"/>
                  </a:moveTo>
                  <a:cubicBezTo>
                    <a:pt x="723209" y="128796"/>
                    <a:pt x="854344" y="256934"/>
                    <a:pt x="986790" y="386387"/>
                  </a:cubicBezTo>
                  <a:cubicBezTo>
                    <a:pt x="853688" y="516496"/>
                    <a:pt x="723209" y="643978"/>
                    <a:pt x="592730" y="771459"/>
                  </a:cubicBezTo>
                  <a:cubicBezTo>
                    <a:pt x="592730" y="714289"/>
                    <a:pt x="592730" y="652520"/>
                    <a:pt x="592730" y="588779"/>
                  </a:cubicBezTo>
                  <a:cubicBezTo>
                    <a:pt x="359310" y="538181"/>
                    <a:pt x="158018" y="584180"/>
                    <a:pt x="0" y="773430"/>
                  </a:cubicBezTo>
                  <a:cubicBezTo>
                    <a:pt x="7213" y="613750"/>
                    <a:pt x="60322" y="474441"/>
                    <a:pt x="173098" y="360759"/>
                  </a:cubicBezTo>
                  <a:cubicBezTo>
                    <a:pt x="286530" y="246420"/>
                    <a:pt x="430123" y="200422"/>
                    <a:pt x="591419" y="190565"/>
                  </a:cubicBezTo>
                  <a:cubicBezTo>
                    <a:pt x="591419" y="126167"/>
                    <a:pt x="591419" y="61769"/>
                    <a:pt x="5914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custDataLst>
      <p:tags r:id="rId2"/>
    </p:custDataLst>
    <p:extLst>
      <p:ext uri="{BB962C8B-B14F-4D97-AF65-F5344CB8AC3E}">
        <p14:creationId xmlns:p14="http://schemas.microsoft.com/office/powerpoint/2010/main" val="3469168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3CEB59-A259-42FB-9A71-01165C622AB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5539" name="think-cell Slide" r:id="rId7" imgW="473" imgH="473" progId="TCLayout.ActiveDocument.1">
                  <p:embed/>
                </p:oleObj>
              </mc:Choice>
              <mc:Fallback>
                <p:oleObj name="think-cell Slide" r:id="rId7" imgW="473" imgH="473" progId="TCLayout.ActiveDocument.1">
                  <p:embed/>
                  <p:pic>
                    <p:nvPicPr>
                      <p:cNvPr id="4" name="Object 3" hidden="1">
                        <a:extLst>
                          <a:ext uri="{FF2B5EF4-FFF2-40B4-BE49-F238E27FC236}">
                            <a16:creationId xmlns:a16="http://schemas.microsoft.com/office/drawing/2014/main" id="{F13CEB59-A259-42FB-9A71-01165C622AB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1C7600-6817-4056-81B5-1B91C2097CD9}"/>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Three sessions to dive into consulting at BCG</a:t>
            </a:r>
          </a:p>
        </p:txBody>
      </p:sp>
      <p:sp>
        <p:nvSpPr>
          <p:cNvPr id="8" name="ColumnHeader">
            <a:extLst>
              <a:ext uri="{FF2B5EF4-FFF2-40B4-BE49-F238E27FC236}">
                <a16:creationId xmlns:a16="http://schemas.microsoft.com/office/drawing/2014/main" id="{6F7F280F-B582-4FE3-9F7C-34EAC8B74A33}"/>
              </a:ext>
            </a:extLst>
          </p:cNvPr>
          <p:cNvSpPr>
            <a:spLocks noChangeArrowheads="1"/>
          </p:cNvSpPr>
          <p:nvPr/>
        </p:nvSpPr>
        <p:spPr bwMode="gray">
          <a:xfrm>
            <a:off x="3821105" y="1305061"/>
            <a:ext cx="5674178" cy="307777"/>
          </a:xfrm>
          <a:prstGeom prst="rect">
            <a:avLst/>
          </a:prstGeom>
          <a:noFill/>
          <a:ln w="9525">
            <a:noFill/>
            <a:miter lim="800000"/>
            <a:headEnd/>
            <a:tailEnd/>
          </a:ln>
          <a:effectLst>
            <a:outerShdw dist="25400" dir="5400000" sx="99000" sy="99000" algn="ctr" rotWithShape="0">
              <a:schemeClr val="tx2"/>
            </a:outerShdw>
          </a:effectLst>
          <a:extLst>
            <a:ext uri="{909E8E84-426E-40DD-AFC4-6F175D3DCCD1}">
              <a14:hiddenFill xmlns:a14="http://schemas.microsoft.com/office/drawing/2010/main">
                <a:solidFill>
                  <a:schemeClr val="bg1"/>
                </a:solidFill>
              </a14:hiddenFill>
            </a:ext>
          </a:extLst>
        </p:spPr>
        <p:txBody>
          <a:bodyPr wrap="square" lIns="0" tIns="0" rIns="0" bIns="0" anchor="b">
            <a:spAutoFit/>
          </a:bodyPr>
          <a:lstStyle/>
          <a:p>
            <a:pPr fontAlgn="base">
              <a:spcBef>
                <a:spcPct val="0"/>
              </a:spcBef>
              <a:spcAft>
                <a:spcPct val="0"/>
              </a:spcAft>
            </a:pPr>
            <a:r>
              <a:rPr lang="en-US" sz="2000" dirty="0">
                <a:solidFill>
                  <a:srgbClr val="29BA74"/>
                </a:solidFill>
                <a:cs typeface="Arial" pitchFamily="34" charset="0"/>
              </a:rPr>
              <a:t>Session content</a:t>
            </a:r>
          </a:p>
        </p:txBody>
      </p:sp>
      <p:sp>
        <p:nvSpPr>
          <p:cNvPr id="9" name="ColumnHeader">
            <a:extLst>
              <a:ext uri="{FF2B5EF4-FFF2-40B4-BE49-F238E27FC236}">
                <a16:creationId xmlns:a16="http://schemas.microsoft.com/office/drawing/2014/main" id="{08B6201E-CBE2-4617-B2B9-93548D1BF45B}"/>
              </a:ext>
            </a:extLst>
          </p:cNvPr>
          <p:cNvSpPr>
            <a:spLocks noChangeArrowheads="1"/>
          </p:cNvSpPr>
          <p:nvPr/>
        </p:nvSpPr>
        <p:spPr bwMode="gray">
          <a:xfrm>
            <a:off x="9839551" y="1305061"/>
            <a:ext cx="866548" cy="307777"/>
          </a:xfrm>
          <a:prstGeom prst="rect">
            <a:avLst/>
          </a:prstGeom>
          <a:noFill/>
          <a:ln w="9525">
            <a:noFill/>
            <a:miter lim="800000"/>
            <a:headEnd/>
            <a:tailEnd/>
          </a:ln>
          <a:effectLst>
            <a:outerShdw dist="25400" dir="5400000" sx="99000" sy="99000" algn="ctr" rotWithShape="0">
              <a:schemeClr val="tx2"/>
            </a:outerShdw>
          </a:effectLst>
          <a:extLst>
            <a:ext uri="{909E8E84-426E-40DD-AFC4-6F175D3DCCD1}">
              <a14:hiddenFill xmlns:a14="http://schemas.microsoft.com/office/drawing/2010/main">
                <a:solidFill>
                  <a:schemeClr val="bg1"/>
                </a:solidFill>
              </a14:hiddenFill>
            </a:ext>
          </a:extLst>
        </p:spPr>
        <p:txBody>
          <a:bodyPr wrap="square" lIns="0" tIns="0" rIns="0" bIns="0" anchor="b">
            <a:spAutoFit/>
          </a:bodyPr>
          <a:lstStyle/>
          <a:p>
            <a:r>
              <a:rPr lang="en-US" sz="2000" dirty="0">
                <a:solidFill>
                  <a:srgbClr val="29BA74"/>
                </a:solidFill>
                <a:cs typeface="Arial" pitchFamily="34" charset="0"/>
              </a:rPr>
              <a:t>Time</a:t>
            </a:r>
          </a:p>
        </p:txBody>
      </p:sp>
      <p:sp>
        <p:nvSpPr>
          <p:cNvPr id="40" name="ColumnHeader">
            <a:extLst>
              <a:ext uri="{FF2B5EF4-FFF2-40B4-BE49-F238E27FC236}">
                <a16:creationId xmlns:a16="http://schemas.microsoft.com/office/drawing/2014/main" id="{FAF53AC5-03AB-4472-B9A2-60F0C493F87C}"/>
              </a:ext>
            </a:extLst>
          </p:cNvPr>
          <p:cNvSpPr>
            <a:spLocks noChangeArrowheads="1"/>
          </p:cNvSpPr>
          <p:nvPr/>
        </p:nvSpPr>
        <p:spPr bwMode="gray">
          <a:xfrm>
            <a:off x="630001" y="1305061"/>
            <a:ext cx="1484549" cy="307777"/>
          </a:xfrm>
          <a:prstGeom prst="rect">
            <a:avLst/>
          </a:prstGeom>
          <a:noFill/>
          <a:ln w="9525">
            <a:noFill/>
            <a:miter lim="800000"/>
            <a:headEnd/>
            <a:tailEnd/>
          </a:ln>
          <a:effectLst>
            <a:outerShdw dist="25400" dir="5400000" sx="99000" sy="99000" algn="ctr" rotWithShape="0">
              <a:schemeClr val="tx2"/>
            </a:outerShdw>
          </a:effectLst>
          <a:extLst>
            <a:ext uri="{909E8E84-426E-40DD-AFC4-6F175D3DCCD1}">
              <a14:hiddenFill xmlns:a14="http://schemas.microsoft.com/office/drawing/2010/main">
                <a:solidFill>
                  <a:schemeClr val="bg1"/>
                </a:solidFill>
              </a14:hiddenFill>
            </a:ext>
          </a:extLst>
        </p:spPr>
        <p:txBody>
          <a:bodyPr wrap="square" lIns="0" tIns="0" rIns="0" bIns="0" anchor="b">
            <a:spAutoFit/>
          </a:bodyPr>
          <a:lstStyle/>
          <a:p>
            <a:pPr fontAlgn="base">
              <a:spcBef>
                <a:spcPct val="0"/>
              </a:spcBef>
              <a:spcAft>
                <a:spcPct val="0"/>
              </a:spcAft>
            </a:pPr>
            <a:r>
              <a:rPr lang="en-US" sz="2000" dirty="0">
                <a:solidFill>
                  <a:srgbClr val="29BA74"/>
                </a:solidFill>
                <a:cs typeface="Arial" pitchFamily="34" charset="0"/>
              </a:rPr>
              <a:t>Session</a:t>
            </a:r>
          </a:p>
        </p:txBody>
      </p:sp>
      <p:cxnSp>
        <p:nvCxnSpPr>
          <p:cNvPr id="14" name="Straight Connector 13">
            <a:extLst>
              <a:ext uri="{FF2B5EF4-FFF2-40B4-BE49-F238E27FC236}">
                <a16:creationId xmlns:a16="http://schemas.microsoft.com/office/drawing/2014/main" id="{72DFDB32-F881-4B4A-90B8-5D7F074CB684}"/>
              </a:ext>
            </a:extLst>
          </p:cNvPr>
          <p:cNvCxnSpPr/>
          <p:nvPr/>
        </p:nvCxnSpPr>
        <p:spPr>
          <a:xfrm>
            <a:off x="630000" y="3218469"/>
            <a:ext cx="1066665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D364637-4806-4F49-8BD7-86F6C0B213FE}"/>
              </a:ext>
            </a:extLst>
          </p:cNvPr>
          <p:cNvCxnSpPr/>
          <p:nvPr/>
        </p:nvCxnSpPr>
        <p:spPr>
          <a:xfrm>
            <a:off x="630000" y="4566470"/>
            <a:ext cx="1066665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44E88D52-8967-3F48-924E-775529CD6BAD}"/>
              </a:ext>
            </a:extLst>
          </p:cNvPr>
          <p:cNvGrpSpPr/>
          <p:nvPr/>
        </p:nvGrpSpPr>
        <p:grpSpPr>
          <a:xfrm>
            <a:off x="8884491" y="6427133"/>
            <a:ext cx="1955331" cy="254141"/>
            <a:chOff x="6455054" y="6427133"/>
            <a:chExt cx="1955331" cy="254141"/>
          </a:xfrm>
        </p:grpSpPr>
        <p:grpSp>
          <p:nvGrpSpPr>
            <p:cNvPr id="114" name="Group 113">
              <a:extLst>
                <a:ext uri="{FF2B5EF4-FFF2-40B4-BE49-F238E27FC236}">
                  <a16:creationId xmlns:a16="http://schemas.microsoft.com/office/drawing/2014/main" id="{C4AEEBDB-A02A-4737-8B0D-5AE2632AB356}"/>
                </a:ext>
              </a:extLst>
            </p:cNvPr>
            <p:cNvGrpSpPr>
              <a:grpSpLocks noChangeAspect="1"/>
            </p:cNvGrpSpPr>
            <p:nvPr/>
          </p:nvGrpSpPr>
          <p:grpSpPr>
            <a:xfrm>
              <a:off x="6455054" y="6427133"/>
              <a:ext cx="253905" cy="254141"/>
              <a:chOff x="5273803" y="2606040"/>
              <a:chExt cx="1644396" cy="1645920"/>
            </a:xfrm>
          </p:grpSpPr>
          <p:sp>
            <p:nvSpPr>
              <p:cNvPr id="115" name="AutoShape 18">
                <a:extLst>
                  <a:ext uri="{FF2B5EF4-FFF2-40B4-BE49-F238E27FC236}">
                    <a16:creationId xmlns:a16="http://schemas.microsoft.com/office/drawing/2014/main" id="{7B35DED0-0901-4222-A28A-A0A915E6726A}"/>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6" name="Group 115">
                <a:extLst>
                  <a:ext uri="{FF2B5EF4-FFF2-40B4-BE49-F238E27FC236}">
                    <a16:creationId xmlns:a16="http://schemas.microsoft.com/office/drawing/2014/main" id="{21D6C84D-6B73-4DA0-9623-0ABE8112E4E7}"/>
                  </a:ext>
                </a:extLst>
              </p:cNvPr>
              <p:cNvGrpSpPr/>
              <p:nvPr/>
            </p:nvGrpSpPr>
            <p:grpSpPr>
              <a:xfrm>
                <a:off x="5336668" y="2770251"/>
                <a:ext cx="1515999" cy="1311783"/>
                <a:chOff x="5336668" y="2770251"/>
                <a:chExt cx="1515999" cy="1311783"/>
              </a:xfrm>
            </p:grpSpPr>
            <p:sp>
              <p:nvSpPr>
                <p:cNvPr id="117" name="Freeform 20">
                  <a:extLst>
                    <a:ext uri="{FF2B5EF4-FFF2-40B4-BE49-F238E27FC236}">
                      <a16:creationId xmlns:a16="http://schemas.microsoft.com/office/drawing/2014/main" id="{FA1D9DEE-F755-4586-8A6C-C6A650BD7142}"/>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21">
                  <a:extLst>
                    <a:ext uri="{FF2B5EF4-FFF2-40B4-BE49-F238E27FC236}">
                      <a16:creationId xmlns:a16="http://schemas.microsoft.com/office/drawing/2014/main" id="{0B015C98-2C53-4646-87DA-32B5EA890A6D}"/>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45" name="Rectangle 44">
              <a:extLst>
                <a:ext uri="{FF2B5EF4-FFF2-40B4-BE49-F238E27FC236}">
                  <a16:creationId xmlns:a16="http://schemas.microsoft.com/office/drawing/2014/main" id="{4D7E8D77-3A85-4AF8-96DB-2193D2495CCC}"/>
                </a:ext>
              </a:extLst>
            </p:cNvPr>
            <p:cNvSpPr/>
            <p:nvPr/>
          </p:nvSpPr>
          <p:spPr>
            <a:xfrm>
              <a:off x="6909889" y="6460378"/>
              <a:ext cx="1500496" cy="187680"/>
            </a:xfrm>
            <a:prstGeom prst="rect">
              <a:avLst/>
            </a:prstGeom>
          </p:spPr>
          <p:txBody>
            <a:bodyPr wrap="square" lIns="0" tIns="0" rIns="0" bIns="0" anchor="t" anchorCtr="0">
              <a:spAutoFit/>
            </a:bodyPr>
            <a:lstStyle/>
            <a:p>
              <a:pPr fontAlgn="base">
                <a:lnSpc>
                  <a:spcPct val="110000"/>
                </a:lnSpc>
                <a:spcBef>
                  <a:spcPts val="600"/>
                </a:spcBef>
                <a:spcAft>
                  <a:spcPts val="300"/>
                </a:spcAft>
                <a:buClr>
                  <a:srgbClr val="000000"/>
                </a:buClr>
                <a:buSzPct val="100000"/>
                <a:defRPr/>
              </a:pPr>
              <a:r>
                <a:rPr lang="en-US" sz="1200" dirty="0">
                  <a:solidFill>
                    <a:srgbClr val="575757">
                      <a:lumMod val="100000"/>
                    </a:srgbClr>
                  </a:solidFill>
                  <a:cs typeface="Arial" pitchFamily="34" charset="0"/>
                </a:rPr>
                <a:t>Plenary presentation</a:t>
              </a:r>
            </a:p>
          </p:txBody>
        </p:sp>
      </p:grpSp>
      <p:sp>
        <p:nvSpPr>
          <p:cNvPr id="31" name="Rectangle 30">
            <a:extLst>
              <a:ext uri="{FF2B5EF4-FFF2-40B4-BE49-F238E27FC236}">
                <a16:creationId xmlns:a16="http://schemas.microsoft.com/office/drawing/2014/main" id="{CB3439A6-AFA0-40BC-854C-23CABFA697DD}"/>
              </a:ext>
            </a:extLst>
          </p:cNvPr>
          <p:cNvSpPr/>
          <p:nvPr/>
        </p:nvSpPr>
        <p:spPr>
          <a:xfrm>
            <a:off x="629999" y="3292503"/>
            <a:ext cx="2812785" cy="1062791"/>
          </a:xfrm>
          <a:prstGeom prst="rect">
            <a:avLst/>
          </a:prstGeom>
        </p:spPr>
        <p:txBody>
          <a:bodyPr wrap="square" lIns="0" tIns="0" rIns="0" bIns="0" anchor="t" anchorCtr="0">
            <a:spAutoFit/>
          </a:bodyPr>
          <a:lstStyle/>
          <a:p>
            <a:pPr fontAlgn="base">
              <a:lnSpc>
                <a:spcPct val="110000"/>
              </a:lnSpc>
              <a:buClr>
                <a:srgbClr val="000000"/>
              </a:buClr>
              <a:buSzPct val="100000"/>
              <a:defRPr/>
            </a:pPr>
            <a:r>
              <a:rPr lang="en-US" sz="1600" dirty="0">
                <a:solidFill>
                  <a:srgbClr val="29BA74"/>
                </a:solidFill>
                <a:cs typeface="Arial" pitchFamily="34" charset="0"/>
              </a:rPr>
              <a:t>Session 2</a:t>
            </a:r>
          </a:p>
          <a:p>
            <a:pPr fontAlgn="base">
              <a:lnSpc>
                <a:spcPct val="110000"/>
              </a:lnSpc>
              <a:buClr>
                <a:srgbClr val="000000"/>
              </a:buClr>
              <a:buSzPct val="100000"/>
              <a:defRPr/>
            </a:pPr>
            <a:r>
              <a:rPr lang="en-US" sz="1600" dirty="0">
                <a:solidFill>
                  <a:srgbClr val="575757">
                    <a:lumMod val="100000"/>
                  </a:srgbClr>
                </a:solidFill>
                <a:cs typeface="Arial" pitchFamily="34" charset="0"/>
              </a:rPr>
              <a:t>Adopting effective ways of working</a:t>
            </a:r>
          </a:p>
          <a:p>
            <a:pPr fontAlgn="base">
              <a:lnSpc>
                <a:spcPct val="110000"/>
              </a:lnSpc>
              <a:buClr>
                <a:srgbClr val="000000"/>
              </a:buClr>
              <a:buSzPct val="100000"/>
              <a:defRPr/>
            </a:pPr>
            <a:r>
              <a:rPr lang="en-US" sz="1600" i="1" dirty="0">
                <a:solidFill>
                  <a:srgbClr val="575757">
                    <a:lumMod val="100000"/>
                  </a:srgbClr>
                </a:solidFill>
                <a:cs typeface="Arial" pitchFamily="34" charset="0"/>
              </a:rPr>
              <a:t>9 February 2021</a:t>
            </a:r>
          </a:p>
        </p:txBody>
      </p:sp>
      <p:sp>
        <p:nvSpPr>
          <p:cNvPr id="37" name="ColumnHeader">
            <a:extLst>
              <a:ext uri="{FF2B5EF4-FFF2-40B4-BE49-F238E27FC236}">
                <a16:creationId xmlns:a16="http://schemas.microsoft.com/office/drawing/2014/main" id="{5294CDCC-5639-4A81-8616-D41E549F1E5F}"/>
              </a:ext>
            </a:extLst>
          </p:cNvPr>
          <p:cNvSpPr>
            <a:spLocks noChangeArrowheads="1"/>
          </p:cNvSpPr>
          <p:nvPr/>
        </p:nvSpPr>
        <p:spPr bwMode="gray">
          <a:xfrm>
            <a:off x="3821103" y="3292503"/>
            <a:ext cx="5674178" cy="1231106"/>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wrap="square" lIns="0" tIns="0" rIns="0" bIns="0" anchor="t">
            <a:spAutoFit/>
          </a:bodyPr>
          <a:lstStyle/>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Lecture: how to manage multidisciplinary teams and remote working</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Case team meetings with BCG facilitators (30' per team)</a:t>
            </a:r>
          </a:p>
          <a:p>
            <a:pPr marL="324000" lvl="1" indent="-216000">
              <a:buClr>
                <a:schemeClr val="tx2">
                  <a:lumMod val="100000"/>
                </a:schemeClr>
              </a:buClr>
              <a:buSzPct val="100000"/>
              <a:buFont typeface="Trebuchet MS" panose="020B0603020202020204" pitchFamily="34" charset="0"/>
              <a:buChar char="•"/>
            </a:pPr>
            <a:endParaRPr lang="en-US" sz="1600"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Work sessions in teams (BCG coaches available)</a:t>
            </a:r>
          </a:p>
        </p:txBody>
      </p:sp>
      <p:sp>
        <p:nvSpPr>
          <p:cNvPr id="41" name="Rectangle 40">
            <a:extLst>
              <a:ext uri="{FF2B5EF4-FFF2-40B4-BE49-F238E27FC236}">
                <a16:creationId xmlns:a16="http://schemas.microsoft.com/office/drawing/2014/main" id="{3C37BCE0-2BC6-4247-A4C5-86AF9F7FB6F7}"/>
              </a:ext>
            </a:extLst>
          </p:cNvPr>
          <p:cNvSpPr/>
          <p:nvPr/>
        </p:nvSpPr>
        <p:spPr>
          <a:xfrm>
            <a:off x="9839549" y="3292503"/>
            <a:ext cx="1199926" cy="1231106"/>
          </a:xfrm>
          <a:prstGeom prst="rect">
            <a:avLst/>
          </a:prstGeom>
        </p:spPr>
        <p:txBody>
          <a:bodyPr wrap="square" lIns="0" tIns="0" rIns="0" bIns="0" anchor="t" anchorCtr="0">
            <a:spAutoFit/>
          </a:bodyPr>
          <a:lstStyle/>
          <a:p>
            <a:pPr fontAlgn="base">
              <a:buSzPct val="100000"/>
              <a:buFont typeface="Trebuchet MS" panose="020B0603020202020204" pitchFamily="34" charset="0"/>
              <a:buChar char="​"/>
              <a:defRPr/>
            </a:pPr>
            <a:r>
              <a:rPr lang="en-US" sz="1600" dirty="0">
                <a:solidFill>
                  <a:schemeClr val="tx1">
                    <a:lumMod val="100000"/>
                  </a:schemeClr>
                </a:solidFill>
                <a:latin typeface="Trebuchet MS" panose="020B0603020202020204" pitchFamily="34" charset="0"/>
                <a:cs typeface="Arial" pitchFamily="34" charset="0"/>
              </a:rPr>
              <a:t>9h40-10h30</a:t>
            </a:r>
          </a:p>
          <a:p>
            <a:pPr fontAlgn="base">
              <a:buSzPct val="100000"/>
              <a:buFont typeface="Trebuchet MS" panose="020B0603020202020204" pitchFamily="34" charset="0"/>
              <a:buChar char="​"/>
              <a:defRPr/>
            </a:pPr>
            <a:endParaRPr lang="en-US" sz="1600" dirty="0">
              <a:solidFill>
                <a:schemeClr val="tx1">
                  <a:lumMod val="100000"/>
                </a:schemeClr>
              </a:solidFill>
              <a:latin typeface="Trebuchet MS" panose="020B0603020202020204" pitchFamily="34" charset="0"/>
              <a:cs typeface="Arial" pitchFamily="34" charset="0"/>
            </a:endParaRPr>
          </a:p>
          <a:p>
            <a:pPr fontAlgn="base">
              <a:buSzPct val="100000"/>
              <a:buFont typeface="Trebuchet MS" panose="020B0603020202020204" pitchFamily="34" charset="0"/>
              <a:buChar char="​"/>
              <a:defRPr/>
            </a:pPr>
            <a:r>
              <a:rPr lang="en-US" sz="1600" dirty="0">
                <a:solidFill>
                  <a:schemeClr val="tx1">
                    <a:lumMod val="100000"/>
                  </a:schemeClr>
                </a:solidFill>
                <a:latin typeface="Trebuchet MS" panose="020B0603020202020204" pitchFamily="34" charset="0"/>
                <a:cs typeface="Arial" pitchFamily="34" charset="0"/>
              </a:rPr>
              <a:t>10h30-13h30</a:t>
            </a:r>
          </a:p>
          <a:p>
            <a:pPr fontAlgn="base">
              <a:buSzPct val="100000"/>
              <a:buFont typeface="Trebuchet MS" panose="020B0603020202020204" pitchFamily="34" charset="0"/>
              <a:buChar char="​"/>
              <a:defRPr/>
            </a:pPr>
            <a:endParaRPr lang="en-US" sz="1600" dirty="0">
              <a:solidFill>
                <a:schemeClr val="tx1">
                  <a:lumMod val="100000"/>
                </a:schemeClr>
              </a:solidFill>
              <a:latin typeface="Trebuchet MS" panose="020B0603020202020204" pitchFamily="34" charset="0"/>
              <a:cs typeface="Arial" pitchFamily="34" charset="0"/>
            </a:endParaRPr>
          </a:p>
          <a:p>
            <a:pPr fontAlgn="base">
              <a:buSzPct val="100000"/>
              <a:buFont typeface="Trebuchet MS" panose="020B0603020202020204" pitchFamily="34" charset="0"/>
              <a:buChar char="​"/>
              <a:defRPr/>
            </a:pPr>
            <a:r>
              <a:rPr lang="en-US" sz="1600" dirty="0">
                <a:solidFill>
                  <a:schemeClr val="tx1">
                    <a:lumMod val="100000"/>
                  </a:schemeClr>
                </a:solidFill>
                <a:latin typeface="Trebuchet MS" panose="020B0603020202020204" pitchFamily="34" charset="0"/>
                <a:cs typeface="Arial" pitchFamily="34" charset="0"/>
              </a:rPr>
              <a:t>13h30-16h</a:t>
            </a:r>
          </a:p>
        </p:txBody>
      </p:sp>
      <p:grpSp>
        <p:nvGrpSpPr>
          <p:cNvPr id="157" name="Group 156">
            <a:extLst>
              <a:ext uri="{FF2B5EF4-FFF2-40B4-BE49-F238E27FC236}">
                <a16:creationId xmlns:a16="http://schemas.microsoft.com/office/drawing/2014/main" id="{682CC611-52EE-4912-B6E4-DDEB33806FE9}"/>
              </a:ext>
            </a:extLst>
          </p:cNvPr>
          <p:cNvGrpSpPr>
            <a:grpSpLocks noChangeAspect="1"/>
          </p:cNvGrpSpPr>
          <p:nvPr/>
        </p:nvGrpSpPr>
        <p:grpSpPr>
          <a:xfrm>
            <a:off x="3679479" y="3306155"/>
            <a:ext cx="220913" cy="221118"/>
            <a:chOff x="5273803" y="2606040"/>
            <a:chExt cx="1644396" cy="1645920"/>
          </a:xfrm>
        </p:grpSpPr>
        <p:sp>
          <p:nvSpPr>
            <p:cNvPr id="158" name="AutoShape 18">
              <a:extLst>
                <a:ext uri="{FF2B5EF4-FFF2-40B4-BE49-F238E27FC236}">
                  <a16:creationId xmlns:a16="http://schemas.microsoft.com/office/drawing/2014/main" id="{41DADDEB-2E5D-4B07-A5E4-1AC05A8A2C82}"/>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9" name="Group 158">
              <a:extLst>
                <a:ext uri="{FF2B5EF4-FFF2-40B4-BE49-F238E27FC236}">
                  <a16:creationId xmlns:a16="http://schemas.microsoft.com/office/drawing/2014/main" id="{6B564640-ED96-449A-928E-8A4AAA81BCB9}"/>
                </a:ext>
              </a:extLst>
            </p:cNvPr>
            <p:cNvGrpSpPr/>
            <p:nvPr/>
          </p:nvGrpSpPr>
          <p:grpSpPr>
            <a:xfrm>
              <a:off x="5336668" y="2770251"/>
              <a:ext cx="1515999" cy="1311783"/>
              <a:chOff x="5336668" y="2770251"/>
              <a:chExt cx="1515999" cy="1311783"/>
            </a:xfrm>
          </p:grpSpPr>
          <p:sp>
            <p:nvSpPr>
              <p:cNvPr id="160" name="Freeform 20">
                <a:extLst>
                  <a:ext uri="{FF2B5EF4-FFF2-40B4-BE49-F238E27FC236}">
                    <a16:creationId xmlns:a16="http://schemas.microsoft.com/office/drawing/2014/main" id="{A9A740B2-8C61-473B-871A-F3BD0307982D}"/>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21">
                <a:extLst>
                  <a:ext uri="{FF2B5EF4-FFF2-40B4-BE49-F238E27FC236}">
                    <a16:creationId xmlns:a16="http://schemas.microsoft.com/office/drawing/2014/main" id="{2822ECA9-4383-455B-8AA5-8765C8A47CBE}"/>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9" name="bcgBugs_MagnifyingGlassSearch">
            <a:extLst>
              <a:ext uri="{FF2B5EF4-FFF2-40B4-BE49-F238E27FC236}">
                <a16:creationId xmlns:a16="http://schemas.microsoft.com/office/drawing/2014/main" id="{1B5A59D8-9EAF-4A72-962C-ECC6B20A677E}"/>
              </a:ext>
            </a:extLst>
          </p:cNvPr>
          <p:cNvGrpSpPr>
            <a:grpSpLocks noChangeAspect="1"/>
          </p:cNvGrpSpPr>
          <p:nvPr/>
        </p:nvGrpSpPr>
        <p:grpSpPr bwMode="auto">
          <a:xfrm>
            <a:off x="7818115" y="4013590"/>
            <a:ext cx="221257" cy="221474"/>
            <a:chOff x="2818" y="1137"/>
            <a:chExt cx="2044" cy="2046"/>
          </a:xfrm>
        </p:grpSpPr>
        <p:sp>
          <p:nvSpPr>
            <p:cNvPr id="80" name="AutoShape 3">
              <a:extLst>
                <a:ext uri="{FF2B5EF4-FFF2-40B4-BE49-F238E27FC236}">
                  <a16:creationId xmlns:a16="http://schemas.microsoft.com/office/drawing/2014/main" id="{9346686C-1E73-4DB3-8610-68A377234A31}"/>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5">
              <a:extLst>
                <a:ext uri="{FF2B5EF4-FFF2-40B4-BE49-F238E27FC236}">
                  <a16:creationId xmlns:a16="http://schemas.microsoft.com/office/drawing/2014/main" id="{2DB4320D-5FA5-4CDC-910D-6A65AE6AC8AC}"/>
                </a:ext>
              </a:extLst>
            </p:cNvPr>
            <p:cNvSpPr>
              <a:spLocks noEditPoints="1"/>
            </p:cNvSpPr>
            <p:nvPr/>
          </p:nvSpPr>
          <p:spPr bwMode="auto">
            <a:xfrm>
              <a:off x="3047" y="1190"/>
              <a:ext cx="1584" cy="1866"/>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 name="Rectangle 81">
            <a:extLst>
              <a:ext uri="{FF2B5EF4-FFF2-40B4-BE49-F238E27FC236}">
                <a16:creationId xmlns:a16="http://schemas.microsoft.com/office/drawing/2014/main" id="{4FE32347-DEBE-4B9C-A18A-AD7392D4CE97}"/>
              </a:ext>
            </a:extLst>
          </p:cNvPr>
          <p:cNvSpPr/>
          <p:nvPr/>
        </p:nvSpPr>
        <p:spPr>
          <a:xfrm>
            <a:off x="8039156" y="4049236"/>
            <a:ext cx="1660865" cy="138499"/>
          </a:xfrm>
          <a:prstGeom prst="rect">
            <a:avLst/>
          </a:prstGeom>
        </p:spPr>
        <p:txBody>
          <a:bodyPr wrap="square" lIns="0" tIns="0" rIns="0" bIns="0" anchor="t" anchorCtr="0">
            <a:spAutoFit/>
          </a:bodyPr>
          <a:lstStyle/>
          <a:p>
            <a:pPr fontAlgn="base">
              <a:buSzPct val="100000"/>
              <a:buFont typeface="Trebuchet MS" panose="020B0603020202020204" pitchFamily="34" charset="0"/>
              <a:buChar char="​"/>
              <a:defRPr/>
            </a:pPr>
            <a:r>
              <a:rPr lang="en-US" sz="900" dirty="0">
                <a:solidFill>
                  <a:srgbClr val="29BA74"/>
                </a:solidFill>
                <a:latin typeface="Trebuchet MS" panose="020B0603020202020204" pitchFamily="34" charset="0"/>
                <a:cs typeface="Arial" pitchFamily="34" charset="0"/>
              </a:rPr>
              <a:t>See team schedule in case brief</a:t>
            </a:r>
          </a:p>
        </p:txBody>
      </p:sp>
      <p:sp>
        <p:nvSpPr>
          <p:cNvPr id="32" name="Rectangle 31">
            <a:extLst>
              <a:ext uri="{FF2B5EF4-FFF2-40B4-BE49-F238E27FC236}">
                <a16:creationId xmlns:a16="http://schemas.microsoft.com/office/drawing/2014/main" id="{CBB62977-1FFF-426D-8494-75ED6A0B592D}"/>
              </a:ext>
            </a:extLst>
          </p:cNvPr>
          <p:cNvSpPr/>
          <p:nvPr/>
        </p:nvSpPr>
        <p:spPr>
          <a:xfrm>
            <a:off x="630002" y="4609332"/>
            <a:ext cx="2812785" cy="1062791"/>
          </a:xfrm>
          <a:prstGeom prst="rect">
            <a:avLst/>
          </a:prstGeom>
        </p:spPr>
        <p:txBody>
          <a:bodyPr wrap="square" lIns="0" tIns="0" rIns="0" bIns="0" anchor="t" anchorCtr="0">
            <a:spAutoFit/>
          </a:bodyPr>
          <a:lstStyle/>
          <a:p>
            <a:pPr fontAlgn="base">
              <a:lnSpc>
                <a:spcPct val="110000"/>
              </a:lnSpc>
              <a:buClr>
                <a:srgbClr val="000000"/>
              </a:buClr>
              <a:buSzPct val="100000"/>
              <a:defRPr/>
            </a:pPr>
            <a:r>
              <a:rPr lang="en-US" sz="1600" dirty="0">
                <a:solidFill>
                  <a:srgbClr val="29BA74"/>
                </a:solidFill>
                <a:cs typeface="Arial" pitchFamily="34" charset="0"/>
              </a:rPr>
              <a:t>Session 3</a:t>
            </a:r>
          </a:p>
          <a:p>
            <a:pPr fontAlgn="base">
              <a:lnSpc>
                <a:spcPct val="110000"/>
              </a:lnSpc>
              <a:buClr>
                <a:srgbClr val="000000"/>
              </a:buClr>
              <a:buSzPct val="100000"/>
              <a:defRPr/>
            </a:pPr>
            <a:r>
              <a:rPr lang="en-US" sz="1600" dirty="0">
                <a:solidFill>
                  <a:srgbClr val="575757">
                    <a:lumMod val="100000"/>
                  </a:srgbClr>
                </a:solidFill>
                <a:cs typeface="Arial" pitchFamily="34" charset="0"/>
              </a:rPr>
              <a:t>Impacting your audience and making a difference</a:t>
            </a:r>
          </a:p>
          <a:p>
            <a:pPr fontAlgn="base">
              <a:lnSpc>
                <a:spcPct val="110000"/>
              </a:lnSpc>
              <a:buClr>
                <a:srgbClr val="000000"/>
              </a:buClr>
              <a:buSzPct val="100000"/>
              <a:defRPr/>
            </a:pPr>
            <a:r>
              <a:rPr lang="en-US" sz="1600" i="1" dirty="0">
                <a:solidFill>
                  <a:srgbClr val="575757">
                    <a:lumMod val="100000"/>
                  </a:srgbClr>
                </a:solidFill>
                <a:cs typeface="Arial" pitchFamily="34" charset="0"/>
              </a:rPr>
              <a:t>10 February 2021</a:t>
            </a:r>
          </a:p>
        </p:txBody>
      </p:sp>
      <p:sp>
        <p:nvSpPr>
          <p:cNvPr id="39" name="ColumnHeader">
            <a:extLst>
              <a:ext uri="{FF2B5EF4-FFF2-40B4-BE49-F238E27FC236}">
                <a16:creationId xmlns:a16="http://schemas.microsoft.com/office/drawing/2014/main" id="{0210DBD5-E04E-4DF6-873F-09BD507372A8}"/>
              </a:ext>
            </a:extLst>
          </p:cNvPr>
          <p:cNvSpPr>
            <a:spLocks noChangeArrowheads="1"/>
          </p:cNvSpPr>
          <p:nvPr/>
        </p:nvSpPr>
        <p:spPr bwMode="gray">
          <a:xfrm>
            <a:off x="3821105" y="4609332"/>
            <a:ext cx="5674178" cy="1477328"/>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wrap="square" lIns="0" tIns="0" rIns="0" bIns="0" anchor="t">
            <a:spAutoFit/>
          </a:bodyPr>
          <a:lstStyle/>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CEO presentations by teams to BCG juries (30' per team)</a:t>
            </a:r>
          </a:p>
          <a:p>
            <a:pPr marL="324000" lvl="1" indent="-216000">
              <a:buClr>
                <a:schemeClr val="tx2">
                  <a:lumMod val="100000"/>
                </a:schemeClr>
              </a:buClr>
              <a:buSzPct val="100000"/>
              <a:buFont typeface="Trebuchet MS" panose="020B0603020202020204" pitchFamily="34" charset="0"/>
              <a:buChar char="•"/>
            </a:pPr>
            <a:endParaRPr lang="en-US" sz="1600"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Plenary presentation by 2 selected teams</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Case correction </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Insights from real-life case</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Conclusion </a:t>
            </a:r>
          </a:p>
        </p:txBody>
      </p:sp>
      <p:sp>
        <p:nvSpPr>
          <p:cNvPr id="163" name="Rectangle 162">
            <a:extLst>
              <a:ext uri="{FF2B5EF4-FFF2-40B4-BE49-F238E27FC236}">
                <a16:creationId xmlns:a16="http://schemas.microsoft.com/office/drawing/2014/main" id="{6FFE1963-DD3F-4980-A724-944A0B1907F9}"/>
              </a:ext>
            </a:extLst>
          </p:cNvPr>
          <p:cNvSpPr/>
          <p:nvPr/>
        </p:nvSpPr>
        <p:spPr>
          <a:xfrm>
            <a:off x="9839551" y="4609332"/>
            <a:ext cx="1199924" cy="738664"/>
          </a:xfrm>
          <a:prstGeom prst="rect">
            <a:avLst/>
          </a:prstGeom>
        </p:spPr>
        <p:txBody>
          <a:bodyPr wrap="square" lIns="0" tIns="0" rIns="0" bIns="0" anchor="t" anchorCtr="0">
            <a:spAutoFit/>
          </a:bodyPr>
          <a:lstStyle/>
          <a:p>
            <a:pPr fontAlgn="base">
              <a:buSzPct val="100000"/>
              <a:buFont typeface="Trebuchet MS" panose="020B0603020202020204" pitchFamily="34" charset="0"/>
              <a:buChar char="​"/>
              <a:defRPr/>
            </a:pPr>
            <a:r>
              <a:rPr lang="en-US" sz="1600" dirty="0">
                <a:solidFill>
                  <a:schemeClr val="tx1">
                    <a:lumMod val="100000"/>
                  </a:schemeClr>
                </a:solidFill>
                <a:latin typeface="Trebuchet MS" panose="020B0603020202020204" pitchFamily="34" charset="0"/>
                <a:cs typeface="Arial" pitchFamily="34" charset="0"/>
              </a:rPr>
              <a:t>9h40-12h40</a:t>
            </a:r>
          </a:p>
          <a:p>
            <a:pPr fontAlgn="base">
              <a:buSzPct val="100000"/>
              <a:buFont typeface="Trebuchet MS" panose="020B0603020202020204" pitchFamily="34" charset="0"/>
              <a:buChar char="​"/>
              <a:defRPr/>
            </a:pPr>
            <a:endParaRPr lang="en-US" sz="1600" dirty="0">
              <a:solidFill>
                <a:schemeClr val="tx1">
                  <a:lumMod val="100000"/>
                </a:schemeClr>
              </a:solidFill>
              <a:latin typeface="Trebuchet MS" panose="020B0603020202020204" pitchFamily="34" charset="0"/>
              <a:cs typeface="Arial" pitchFamily="34" charset="0"/>
            </a:endParaRPr>
          </a:p>
          <a:p>
            <a:pPr fontAlgn="base">
              <a:buSzPct val="100000"/>
              <a:buFont typeface="Trebuchet MS" panose="020B0603020202020204" pitchFamily="34" charset="0"/>
              <a:buChar char="​"/>
              <a:defRPr/>
            </a:pPr>
            <a:r>
              <a:rPr lang="en-US" sz="1600" dirty="0">
                <a:solidFill>
                  <a:schemeClr val="tx1">
                    <a:lumMod val="100000"/>
                  </a:schemeClr>
                </a:solidFill>
                <a:latin typeface="Trebuchet MS" panose="020B0603020202020204" pitchFamily="34" charset="0"/>
                <a:cs typeface="Arial" pitchFamily="34" charset="0"/>
              </a:rPr>
              <a:t>13h30-14h30</a:t>
            </a:r>
          </a:p>
        </p:txBody>
      </p:sp>
      <p:grpSp>
        <p:nvGrpSpPr>
          <p:cNvPr id="166" name="Group 165">
            <a:extLst>
              <a:ext uri="{FF2B5EF4-FFF2-40B4-BE49-F238E27FC236}">
                <a16:creationId xmlns:a16="http://schemas.microsoft.com/office/drawing/2014/main" id="{4871C42B-2320-4CE4-93B5-F421744554DC}"/>
              </a:ext>
            </a:extLst>
          </p:cNvPr>
          <p:cNvGrpSpPr>
            <a:grpSpLocks noChangeAspect="1"/>
          </p:cNvGrpSpPr>
          <p:nvPr/>
        </p:nvGrpSpPr>
        <p:grpSpPr>
          <a:xfrm>
            <a:off x="3691484" y="5102389"/>
            <a:ext cx="220913" cy="221118"/>
            <a:chOff x="5273803" y="2606040"/>
            <a:chExt cx="1644396" cy="1645920"/>
          </a:xfrm>
        </p:grpSpPr>
        <p:sp>
          <p:nvSpPr>
            <p:cNvPr id="167" name="AutoShape 18">
              <a:extLst>
                <a:ext uri="{FF2B5EF4-FFF2-40B4-BE49-F238E27FC236}">
                  <a16:creationId xmlns:a16="http://schemas.microsoft.com/office/drawing/2014/main" id="{EA3FAD3B-EEEA-474B-A9A3-B07A5B225FDA}"/>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68" name="Group 167">
              <a:extLst>
                <a:ext uri="{FF2B5EF4-FFF2-40B4-BE49-F238E27FC236}">
                  <a16:creationId xmlns:a16="http://schemas.microsoft.com/office/drawing/2014/main" id="{74E1BC7E-BD5A-4D0B-BA02-B2AD5ED19D74}"/>
                </a:ext>
              </a:extLst>
            </p:cNvPr>
            <p:cNvGrpSpPr/>
            <p:nvPr/>
          </p:nvGrpSpPr>
          <p:grpSpPr>
            <a:xfrm>
              <a:off x="5336668" y="2770251"/>
              <a:ext cx="1515999" cy="1311783"/>
              <a:chOff x="5336668" y="2770251"/>
              <a:chExt cx="1515999" cy="1311783"/>
            </a:xfrm>
          </p:grpSpPr>
          <p:sp>
            <p:nvSpPr>
              <p:cNvPr id="169" name="Freeform 20">
                <a:extLst>
                  <a:ext uri="{FF2B5EF4-FFF2-40B4-BE49-F238E27FC236}">
                    <a16:creationId xmlns:a16="http://schemas.microsoft.com/office/drawing/2014/main" id="{E1F146A3-9666-4AF7-9C64-8B451A3E5069}"/>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21">
                <a:extLst>
                  <a:ext uri="{FF2B5EF4-FFF2-40B4-BE49-F238E27FC236}">
                    <a16:creationId xmlns:a16="http://schemas.microsoft.com/office/drawing/2014/main" id="{0136B125-8749-40B0-86FA-6C3095D21216}"/>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87" name="Group 186">
            <a:extLst>
              <a:ext uri="{FF2B5EF4-FFF2-40B4-BE49-F238E27FC236}">
                <a16:creationId xmlns:a16="http://schemas.microsoft.com/office/drawing/2014/main" id="{4B29004C-58FA-46FC-9D53-77A53B63C26A}"/>
              </a:ext>
            </a:extLst>
          </p:cNvPr>
          <p:cNvGrpSpPr>
            <a:grpSpLocks noChangeAspect="1"/>
          </p:cNvGrpSpPr>
          <p:nvPr/>
        </p:nvGrpSpPr>
        <p:grpSpPr>
          <a:xfrm>
            <a:off x="3691484" y="5595843"/>
            <a:ext cx="220913" cy="221118"/>
            <a:chOff x="5273803" y="2606040"/>
            <a:chExt cx="1644396" cy="1645920"/>
          </a:xfrm>
        </p:grpSpPr>
        <p:sp>
          <p:nvSpPr>
            <p:cNvPr id="188" name="AutoShape 18">
              <a:extLst>
                <a:ext uri="{FF2B5EF4-FFF2-40B4-BE49-F238E27FC236}">
                  <a16:creationId xmlns:a16="http://schemas.microsoft.com/office/drawing/2014/main" id="{AA8F0487-9875-4CFD-9EA8-C017B289C8C2}"/>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9" name="Group 188">
              <a:extLst>
                <a:ext uri="{FF2B5EF4-FFF2-40B4-BE49-F238E27FC236}">
                  <a16:creationId xmlns:a16="http://schemas.microsoft.com/office/drawing/2014/main" id="{849B594C-19C4-4DB2-9B4D-CB2F87F96CA5}"/>
                </a:ext>
              </a:extLst>
            </p:cNvPr>
            <p:cNvGrpSpPr/>
            <p:nvPr/>
          </p:nvGrpSpPr>
          <p:grpSpPr>
            <a:xfrm>
              <a:off x="5336668" y="2770251"/>
              <a:ext cx="1515999" cy="1311783"/>
              <a:chOff x="5336668" y="2770251"/>
              <a:chExt cx="1515999" cy="1311783"/>
            </a:xfrm>
          </p:grpSpPr>
          <p:sp>
            <p:nvSpPr>
              <p:cNvPr id="190" name="Freeform 20">
                <a:extLst>
                  <a:ext uri="{FF2B5EF4-FFF2-40B4-BE49-F238E27FC236}">
                    <a16:creationId xmlns:a16="http://schemas.microsoft.com/office/drawing/2014/main" id="{73C04E56-C8FB-4263-9CC3-7DBD0ED6AEFD}"/>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21">
                <a:extLst>
                  <a:ext uri="{FF2B5EF4-FFF2-40B4-BE49-F238E27FC236}">
                    <a16:creationId xmlns:a16="http://schemas.microsoft.com/office/drawing/2014/main" id="{2395E629-5C74-4D4C-A7EC-B24DAA8E77F3}"/>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extLst>
              <a:ext uri="{FF2B5EF4-FFF2-40B4-BE49-F238E27FC236}">
                <a16:creationId xmlns:a16="http://schemas.microsoft.com/office/drawing/2014/main" id="{496FD8D8-BCD9-4B48-9D41-56E61BE4CF68}"/>
              </a:ext>
            </a:extLst>
          </p:cNvPr>
          <p:cNvSpPr/>
          <p:nvPr/>
        </p:nvSpPr>
        <p:spPr>
          <a:xfrm>
            <a:off x="9839550" y="5566583"/>
            <a:ext cx="1199923" cy="246221"/>
          </a:xfrm>
          <a:prstGeom prst="rect">
            <a:avLst/>
          </a:prstGeom>
        </p:spPr>
        <p:txBody>
          <a:bodyPr wrap="square" lIns="0" tIns="0" rIns="0" bIns="0" anchor="t" anchorCtr="0">
            <a:spAutoFit/>
          </a:bodyPr>
          <a:lstStyle/>
          <a:p>
            <a:pPr fontAlgn="base">
              <a:buSzPct val="100000"/>
              <a:buFont typeface="Trebuchet MS" panose="020B0603020202020204" pitchFamily="34" charset="0"/>
              <a:buChar char="​"/>
              <a:defRPr/>
            </a:pPr>
            <a:r>
              <a:rPr lang="en-US" sz="1600" dirty="0">
                <a:solidFill>
                  <a:schemeClr val="tx1">
                    <a:lumMod val="100000"/>
                  </a:schemeClr>
                </a:solidFill>
                <a:latin typeface="Trebuchet MS" panose="020B0603020202020204" pitchFamily="34" charset="0"/>
                <a:cs typeface="Arial" pitchFamily="34" charset="0"/>
              </a:rPr>
              <a:t>14h30-16h</a:t>
            </a:r>
          </a:p>
        </p:txBody>
      </p:sp>
      <p:cxnSp>
        <p:nvCxnSpPr>
          <p:cNvPr id="75" name="Straight Connector 74">
            <a:extLst>
              <a:ext uri="{FF2B5EF4-FFF2-40B4-BE49-F238E27FC236}">
                <a16:creationId xmlns:a16="http://schemas.microsoft.com/office/drawing/2014/main" id="{C257668D-1213-4D80-9370-BCF0005D524F}"/>
              </a:ext>
            </a:extLst>
          </p:cNvPr>
          <p:cNvCxnSpPr>
            <a:cxnSpLocks/>
          </p:cNvCxnSpPr>
          <p:nvPr/>
        </p:nvCxnSpPr>
        <p:spPr>
          <a:xfrm>
            <a:off x="6853073" y="5379714"/>
            <a:ext cx="0" cy="619959"/>
          </a:xfrm>
          <a:prstGeom prst="line">
            <a:avLst/>
          </a:prstGeom>
          <a:ln w="1905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grpSp>
        <p:nvGrpSpPr>
          <p:cNvPr id="83" name="bcgBugs_MagnifyingGlassSearch">
            <a:extLst>
              <a:ext uri="{FF2B5EF4-FFF2-40B4-BE49-F238E27FC236}">
                <a16:creationId xmlns:a16="http://schemas.microsoft.com/office/drawing/2014/main" id="{B255E70A-E0D3-4531-9E65-139BD4938181}"/>
              </a:ext>
            </a:extLst>
          </p:cNvPr>
          <p:cNvGrpSpPr>
            <a:grpSpLocks noChangeAspect="1"/>
          </p:cNvGrpSpPr>
          <p:nvPr/>
        </p:nvGrpSpPr>
        <p:grpSpPr bwMode="auto">
          <a:xfrm>
            <a:off x="7818115" y="4863941"/>
            <a:ext cx="221257" cy="221474"/>
            <a:chOff x="2818" y="1137"/>
            <a:chExt cx="2044" cy="2046"/>
          </a:xfrm>
        </p:grpSpPr>
        <p:sp>
          <p:nvSpPr>
            <p:cNvPr id="84" name="AutoShape 3">
              <a:extLst>
                <a:ext uri="{FF2B5EF4-FFF2-40B4-BE49-F238E27FC236}">
                  <a16:creationId xmlns:a16="http://schemas.microsoft.com/office/drawing/2014/main" id="{FD6D485A-C500-49BB-A651-0B877350464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5">
              <a:extLst>
                <a:ext uri="{FF2B5EF4-FFF2-40B4-BE49-F238E27FC236}">
                  <a16:creationId xmlns:a16="http://schemas.microsoft.com/office/drawing/2014/main" id="{C482194D-3BD8-4236-9675-42A93EA5DA1D}"/>
                </a:ext>
              </a:extLst>
            </p:cNvPr>
            <p:cNvSpPr>
              <a:spLocks noEditPoints="1"/>
            </p:cNvSpPr>
            <p:nvPr/>
          </p:nvSpPr>
          <p:spPr bwMode="auto">
            <a:xfrm>
              <a:off x="3047" y="1190"/>
              <a:ext cx="1584" cy="1866"/>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6" name="Rectangle 85">
            <a:extLst>
              <a:ext uri="{FF2B5EF4-FFF2-40B4-BE49-F238E27FC236}">
                <a16:creationId xmlns:a16="http://schemas.microsoft.com/office/drawing/2014/main" id="{1A50FF04-71C9-446A-AF9A-90E85DE59E15}"/>
              </a:ext>
            </a:extLst>
          </p:cNvPr>
          <p:cNvSpPr/>
          <p:nvPr/>
        </p:nvSpPr>
        <p:spPr>
          <a:xfrm>
            <a:off x="8039156" y="4899587"/>
            <a:ext cx="1660865" cy="138499"/>
          </a:xfrm>
          <a:prstGeom prst="rect">
            <a:avLst/>
          </a:prstGeom>
        </p:spPr>
        <p:txBody>
          <a:bodyPr wrap="square" lIns="0" tIns="0" rIns="0" bIns="0" anchor="t" anchorCtr="0">
            <a:spAutoFit/>
          </a:bodyPr>
          <a:lstStyle/>
          <a:p>
            <a:pPr fontAlgn="base">
              <a:buSzPct val="100000"/>
              <a:buFont typeface="Trebuchet MS" panose="020B0603020202020204" pitchFamily="34" charset="0"/>
              <a:buChar char="​"/>
              <a:defRPr/>
            </a:pPr>
            <a:r>
              <a:rPr lang="en-US" sz="900" dirty="0">
                <a:solidFill>
                  <a:srgbClr val="29BA74"/>
                </a:solidFill>
                <a:latin typeface="Trebuchet MS" panose="020B0603020202020204" pitchFamily="34" charset="0"/>
                <a:cs typeface="Arial" pitchFamily="34" charset="0"/>
              </a:rPr>
              <a:t>See team schedule in case brief</a:t>
            </a:r>
          </a:p>
        </p:txBody>
      </p:sp>
      <p:sp>
        <p:nvSpPr>
          <p:cNvPr id="30" name="Rectangle 29">
            <a:extLst>
              <a:ext uri="{FF2B5EF4-FFF2-40B4-BE49-F238E27FC236}">
                <a16:creationId xmlns:a16="http://schemas.microsoft.com/office/drawing/2014/main" id="{18238609-634E-4199-8BE8-CC1FB23D57B0}"/>
              </a:ext>
            </a:extLst>
          </p:cNvPr>
          <p:cNvSpPr/>
          <p:nvPr/>
        </p:nvSpPr>
        <p:spPr>
          <a:xfrm>
            <a:off x="630002" y="1685728"/>
            <a:ext cx="2812785" cy="1062791"/>
          </a:xfrm>
          <a:prstGeom prst="rect">
            <a:avLst/>
          </a:prstGeom>
        </p:spPr>
        <p:txBody>
          <a:bodyPr wrap="square" lIns="0" tIns="0" rIns="0" bIns="0" anchor="t" anchorCtr="0">
            <a:spAutoFit/>
          </a:bodyPr>
          <a:lstStyle/>
          <a:p>
            <a:pPr fontAlgn="base">
              <a:lnSpc>
                <a:spcPct val="110000"/>
              </a:lnSpc>
              <a:buClr>
                <a:srgbClr val="000000"/>
              </a:buClr>
              <a:buSzPct val="100000"/>
              <a:defRPr/>
            </a:pPr>
            <a:r>
              <a:rPr lang="en-US" sz="1600" dirty="0">
                <a:solidFill>
                  <a:srgbClr val="29BA74"/>
                </a:solidFill>
                <a:cs typeface="Arial" pitchFamily="34" charset="0"/>
              </a:rPr>
              <a:t>Session 1</a:t>
            </a:r>
          </a:p>
          <a:p>
            <a:pPr fontAlgn="base">
              <a:lnSpc>
                <a:spcPct val="110000"/>
              </a:lnSpc>
              <a:buClr>
                <a:srgbClr val="000000"/>
              </a:buClr>
              <a:buSzPct val="100000"/>
              <a:defRPr/>
            </a:pPr>
            <a:r>
              <a:rPr lang="en-US" sz="1600" dirty="0">
                <a:solidFill>
                  <a:srgbClr val="575757">
                    <a:lumMod val="100000"/>
                  </a:srgbClr>
                </a:solidFill>
                <a:cs typeface="Arial" pitchFamily="34" charset="0"/>
              </a:rPr>
              <a:t>Winning in a business context by using AI</a:t>
            </a:r>
          </a:p>
          <a:p>
            <a:pPr fontAlgn="base">
              <a:lnSpc>
                <a:spcPct val="110000"/>
              </a:lnSpc>
              <a:buClr>
                <a:srgbClr val="000000"/>
              </a:buClr>
              <a:buSzPct val="100000"/>
              <a:defRPr/>
            </a:pPr>
            <a:r>
              <a:rPr lang="en-US" sz="1600" i="1" dirty="0">
                <a:solidFill>
                  <a:srgbClr val="575757">
                    <a:lumMod val="100000"/>
                  </a:srgbClr>
                </a:solidFill>
                <a:cs typeface="Arial" pitchFamily="34" charset="0"/>
              </a:rPr>
              <a:t>8 February 2021</a:t>
            </a:r>
          </a:p>
        </p:txBody>
      </p:sp>
      <p:sp>
        <p:nvSpPr>
          <p:cNvPr id="15" name="Rectangle 14">
            <a:extLst>
              <a:ext uri="{FF2B5EF4-FFF2-40B4-BE49-F238E27FC236}">
                <a16:creationId xmlns:a16="http://schemas.microsoft.com/office/drawing/2014/main" id="{87B5EB5F-C7DE-46A0-A574-037581B6821C}"/>
              </a:ext>
            </a:extLst>
          </p:cNvPr>
          <p:cNvSpPr/>
          <p:nvPr/>
        </p:nvSpPr>
        <p:spPr>
          <a:xfrm>
            <a:off x="9839549" y="1926490"/>
            <a:ext cx="1066574" cy="246221"/>
          </a:xfrm>
          <a:prstGeom prst="rect">
            <a:avLst/>
          </a:prstGeom>
        </p:spPr>
        <p:txBody>
          <a:bodyPr wrap="square" lIns="0" tIns="0" rIns="0" bIns="0" anchor="t" anchorCtr="0">
            <a:spAutoFit/>
          </a:bodyPr>
          <a:lstStyle/>
          <a:p>
            <a:pPr fontAlgn="base">
              <a:buSzPct val="100000"/>
              <a:buFont typeface="Trebuchet MS" panose="020B0603020202020204" pitchFamily="34" charset="0"/>
              <a:buChar char="​"/>
              <a:defRPr/>
            </a:pPr>
            <a:r>
              <a:rPr lang="en-US" sz="1600" dirty="0">
                <a:solidFill>
                  <a:schemeClr val="tx1">
                    <a:lumMod val="100000"/>
                  </a:schemeClr>
                </a:solidFill>
                <a:latin typeface="Trebuchet MS" panose="020B0603020202020204" pitchFamily="34" charset="0"/>
                <a:cs typeface="Arial" pitchFamily="34" charset="0"/>
              </a:rPr>
              <a:t>9h40-10h40</a:t>
            </a:r>
          </a:p>
        </p:txBody>
      </p:sp>
      <p:sp>
        <p:nvSpPr>
          <p:cNvPr id="22" name="ColumnHeader">
            <a:extLst>
              <a:ext uri="{FF2B5EF4-FFF2-40B4-BE49-F238E27FC236}">
                <a16:creationId xmlns:a16="http://schemas.microsoft.com/office/drawing/2014/main" id="{2D0C0D18-F2AB-47B4-87BE-F725A2456A08}"/>
              </a:ext>
            </a:extLst>
          </p:cNvPr>
          <p:cNvSpPr>
            <a:spLocks noChangeArrowheads="1"/>
          </p:cNvSpPr>
          <p:nvPr/>
        </p:nvSpPr>
        <p:spPr bwMode="gray">
          <a:xfrm>
            <a:off x="3821103" y="1685728"/>
            <a:ext cx="5295465" cy="1477328"/>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wrap="square" lIns="0" tIns="0" rIns="0" bIns="0" anchor="t">
            <a:spAutoFit/>
          </a:bodyPr>
          <a:lstStyle/>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Introduction: BCG GAMMA</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Lecture: the Power of AI</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Lecture: deliver an impactful presentation</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Case briefing: context, guidelines and deliverables</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Work session in teams (BCG coaches available)</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Optional course: optimization basics</a:t>
            </a:r>
          </a:p>
        </p:txBody>
      </p:sp>
      <p:grpSp>
        <p:nvGrpSpPr>
          <p:cNvPr id="135" name="Group 134">
            <a:extLst>
              <a:ext uri="{FF2B5EF4-FFF2-40B4-BE49-F238E27FC236}">
                <a16:creationId xmlns:a16="http://schemas.microsoft.com/office/drawing/2014/main" id="{184AC851-713B-8346-9707-26F2C2B6F84C}"/>
              </a:ext>
            </a:extLst>
          </p:cNvPr>
          <p:cNvGrpSpPr>
            <a:grpSpLocks noChangeAspect="1"/>
          </p:cNvGrpSpPr>
          <p:nvPr/>
        </p:nvGrpSpPr>
        <p:grpSpPr>
          <a:xfrm>
            <a:off x="3679479" y="2429566"/>
            <a:ext cx="220913" cy="221118"/>
            <a:chOff x="5273803" y="2606040"/>
            <a:chExt cx="1644396" cy="1645920"/>
          </a:xfrm>
        </p:grpSpPr>
        <p:sp>
          <p:nvSpPr>
            <p:cNvPr id="136" name="AutoShape 18">
              <a:extLst>
                <a:ext uri="{FF2B5EF4-FFF2-40B4-BE49-F238E27FC236}">
                  <a16:creationId xmlns:a16="http://schemas.microsoft.com/office/drawing/2014/main" id="{E6E18B03-F76A-254B-BC21-D77E8B77044F}"/>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37" name="Group 136">
              <a:extLst>
                <a:ext uri="{FF2B5EF4-FFF2-40B4-BE49-F238E27FC236}">
                  <a16:creationId xmlns:a16="http://schemas.microsoft.com/office/drawing/2014/main" id="{5EDE9CB5-C83B-0640-B4A6-9324442EE36E}"/>
                </a:ext>
              </a:extLst>
            </p:cNvPr>
            <p:cNvGrpSpPr/>
            <p:nvPr/>
          </p:nvGrpSpPr>
          <p:grpSpPr>
            <a:xfrm>
              <a:off x="5336668" y="2770251"/>
              <a:ext cx="1515999" cy="1311783"/>
              <a:chOff x="5336668" y="2770251"/>
              <a:chExt cx="1515999" cy="1311783"/>
            </a:xfrm>
          </p:grpSpPr>
          <p:sp>
            <p:nvSpPr>
              <p:cNvPr id="138" name="Freeform 20">
                <a:extLst>
                  <a:ext uri="{FF2B5EF4-FFF2-40B4-BE49-F238E27FC236}">
                    <a16:creationId xmlns:a16="http://schemas.microsoft.com/office/drawing/2014/main" id="{9FBC21B1-714A-F348-B6F9-23B3D8F37C2D}"/>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21">
                <a:extLst>
                  <a:ext uri="{FF2B5EF4-FFF2-40B4-BE49-F238E27FC236}">
                    <a16:creationId xmlns:a16="http://schemas.microsoft.com/office/drawing/2014/main" id="{DD778306-DBDF-9841-9645-1F44EBA7E615}"/>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68" name="Rectangle 67">
            <a:extLst>
              <a:ext uri="{FF2B5EF4-FFF2-40B4-BE49-F238E27FC236}">
                <a16:creationId xmlns:a16="http://schemas.microsoft.com/office/drawing/2014/main" id="{3420611D-4AF8-4164-B48A-F77B8DE3629D}"/>
              </a:ext>
            </a:extLst>
          </p:cNvPr>
          <p:cNvSpPr/>
          <p:nvPr/>
        </p:nvSpPr>
        <p:spPr>
          <a:xfrm>
            <a:off x="9839549" y="2436944"/>
            <a:ext cx="1199926" cy="738664"/>
          </a:xfrm>
          <a:prstGeom prst="rect">
            <a:avLst/>
          </a:prstGeom>
        </p:spPr>
        <p:txBody>
          <a:bodyPr wrap="square" lIns="0" tIns="0" rIns="0" bIns="0" anchor="t" anchorCtr="0">
            <a:spAutoFit/>
          </a:bodyPr>
          <a:lstStyle/>
          <a:p>
            <a:pPr fontAlgn="base">
              <a:buSzPct val="100000"/>
              <a:buFont typeface="Trebuchet MS" panose="020B0603020202020204" pitchFamily="34" charset="0"/>
              <a:buChar char="​"/>
              <a:defRPr/>
            </a:pPr>
            <a:r>
              <a:rPr lang="en-US" sz="1600" dirty="0">
                <a:solidFill>
                  <a:schemeClr val="tx1">
                    <a:lumMod val="100000"/>
                  </a:schemeClr>
                </a:solidFill>
                <a:latin typeface="Trebuchet MS" panose="020B0603020202020204" pitchFamily="34" charset="0"/>
                <a:cs typeface="Arial" pitchFamily="34" charset="0"/>
              </a:rPr>
              <a:t>11h20-11h50</a:t>
            </a:r>
          </a:p>
          <a:p>
            <a:pPr fontAlgn="base">
              <a:buSzPct val="100000"/>
              <a:buFont typeface="Trebuchet MS" panose="020B0603020202020204" pitchFamily="34" charset="0"/>
              <a:buChar char="​"/>
              <a:defRPr/>
            </a:pPr>
            <a:r>
              <a:rPr lang="en-US" sz="1600" dirty="0">
                <a:solidFill>
                  <a:schemeClr val="tx1">
                    <a:lumMod val="100000"/>
                  </a:schemeClr>
                </a:solidFill>
                <a:latin typeface="Trebuchet MS" panose="020B0603020202020204" pitchFamily="34" charset="0"/>
                <a:cs typeface="Arial" pitchFamily="34" charset="0"/>
              </a:rPr>
              <a:t>12h-16h</a:t>
            </a:r>
          </a:p>
          <a:p>
            <a:pPr fontAlgn="base">
              <a:buSzPct val="100000"/>
              <a:buFont typeface="Trebuchet MS" panose="020B0603020202020204" pitchFamily="34" charset="0"/>
              <a:buChar char="​"/>
              <a:defRPr/>
            </a:pPr>
            <a:r>
              <a:rPr lang="en-US" sz="1600" dirty="0">
                <a:solidFill>
                  <a:schemeClr val="tx1">
                    <a:lumMod val="100000"/>
                  </a:schemeClr>
                </a:solidFill>
                <a:latin typeface="Trebuchet MS" panose="020B0603020202020204" pitchFamily="34" charset="0"/>
                <a:cs typeface="Arial" pitchFamily="34" charset="0"/>
              </a:rPr>
              <a:t>16h10-17h40</a:t>
            </a:r>
          </a:p>
        </p:txBody>
      </p:sp>
      <p:grpSp>
        <p:nvGrpSpPr>
          <p:cNvPr id="124" name="Group 123">
            <a:extLst>
              <a:ext uri="{FF2B5EF4-FFF2-40B4-BE49-F238E27FC236}">
                <a16:creationId xmlns:a16="http://schemas.microsoft.com/office/drawing/2014/main" id="{BB68DE0E-ECBF-4A51-A57A-6334693BF28F}"/>
              </a:ext>
            </a:extLst>
          </p:cNvPr>
          <p:cNvGrpSpPr>
            <a:grpSpLocks noChangeAspect="1"/>
          </p:cNvGrpSpPr>
          <p:nvPr/>
        </p:nvGrpSpPr>
        <p:grpSpPr>
          <a:xfrm>
            <a:off x="3679479" y="2901904"/>
            <a:ext cx="220913" cy="221118"/>
            <a:chOff x="5273803" y="2606040"/>
            <a:chExt cx="1644396" cy="1645920"/>
          </a:xfrm>
        </p:grpSpPr>
        <p:sp>
          <p:nvSpPr>
            <p:cNvPr id="125" name="AutoShape 18">
              <a:extLst>
                <a:ext uri="{FF2B5EF4-FFF2-40B4-BE49-F238E27FC236}">
                  <a16:creationId xmlns:a16="http://schemas.microsoft.com/office/drawing/2014/main" id="{B024E46B-655A-43BF-9E99-FC797DB7FCA3}"/>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6" name="Group 125">
              <a:extLst>
                <a:ext uri="{FF2B5EF4-FFF2-40B4-BE49-F238E27FC236}">
                  <a16:creationId xmlns:a16="http://schemas.microsoft.com/office/drawing/2014/main" id="{6473E7BF-31BF-4365-A2C1-52B8E36C6D93}"/>
                </a:ext>
              </a:extLst>
            </p:cNvPr>
            <p:cNvGrpSpPr/>
            <p:nvPr/>
          </p:nvGrpSpPr>
          <p:grpSpPr>
            <a:xfrm>
              <a:off x="5336668" y="2770251"/>
              <a:ext cx="1515999" cy="1311783"/>
              <a:chOff x="5336668" y="2770251"/>
              <a:chExt cx="1515999" cy="1311783"/>
            </a:xfrm>
          </p:grpSpPr>
          <p:sp>
            <p:nvSpPr>
              <p:cNvPr id="127" name="Freeform 20">
                <a:extLst>
                  <a:ext uri="{FF2B5EF4-FFF2-40B4-BE49-F238E27FC236}">
                    <a16:creationId xmlns:a16="http://schemas.microsoft.com/office/drawing/2014/main" id="{BE5A136B-47F7-4532-A3AA-01550D754B77}"/>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21">
                <a:extLst>
                  <a:ext uri="{FF2B5EF4-FFF2-40B4-BE49-F238E27FC236}">
                    <a16:creationId xmlns:a16="http://schemas.microsoft.com/office/drawing/2014/main" id="{2791336F-4E03-454D-A6D3-D476FC614DB4}"/>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134" name="Rectangle 133">
            <a:extLst>
              <a:ext uri="{FF2B5EF4-FFF2-40B4-BE49-F238E27FC236}">
                <a16:creationId xmlns:a16="http://schemas.microsoft.com/office/drawing/2014/main" id="{E579E54D-E5BD-6740-934B-F20315786753}"/>
              </a:ext>
            </a:extLst>
          </p:cNvPr>
          <p:cNvSpPr/>
          <p:nvPr/>
        </p:nvSpPr>
        <p:spPr>
          <a:xfrm>
            <a:off x="9839549" y="1664848"/>
            <a:ext cx="1066574" cy="246221"/>
          </a:xfrm>
          <a:prstGeom prst="rect">
            <a:avLst/>
          </a:prstGeom>
        </p:spPr>
        <p:txBody>
          <a:bodyPr wrap="square" lIns="0" tIns="0" rIns="0" bIns="0" anchor="t" anchorCtr="0">
            <a:spAutoFit/>
          </a:bodyPr>
          <a:lstStyle/>
          <a:p>
            <a:pPr fontAlgn="base">
              <a:buSzPct val="100000"/>
              <a:buFont typeface="Trebuchet MS" panose="020B0603020202020204" pitchFamily="34" charset="0"/>
              <a:buChar char="​"/>
              <a:defRPr/>
            </a:pPr>
            <a:r>
              <a:rPr lang="en-US" sz="1600" dirty="0">
                <a:solidFill>
                  <a:schemeClr val="tx1">
                    <a:lumMod val="100000"/>
                  </a:schemeClr>
                </a:solidFill>
                <a:latin typeface="Trebuchet MS" panose="020B0603020202020204" pitchFamily="34" charset="0"/>
                <a:cs typeface="Arial" pitchFamily="34" charset="0"/>
              </a:rPr>
              <a:t>9h00-9h30</a:t>
            </a:r>
          </a:p>
        </p:txBody>
      </p:sp>
      <p:grpSp>
        <p:nvGrpSpPr>
          <p:cNvPr id="143" name="Group 142">
            <a:extLst>
              <a:ext uri="{FF2B5EF4-FFF2-40B4-BE49-F238E27FC236}">
                <a16:creationId xmlns:a16="http://schemas.microsoft.com/office/drawing/2014/main" id="{6D8FBD1C-1FF6-0A48-A18E-6C3DD0AFA7D7}"/>
              </a:ext>
            </a:extLst>
          </p:cNvPr>
          <p:cNvGrpSpPr>
            <a:grpSpLocks noChangeAspect="1"/>
          </p:cNvGrpSpPr>
          <p:nvPr/>
        </p:nvGrpSpPr>
        <p:grpSpPr>
          <a:xfrm>
            <a:off x="3679479" y="1702058"/>
            <a:ext cx="220913" cy="221118"/>
            <a:chOff x="5273803" y="2606040"/>
            <a:chExt cx="1644396" cy="1645920"/>
          </a:xfrm>
        </p:grpSpPr>
        <p:sp>
          <p:nvSpPr>
            <p:cNvPr id="144" name="AutoShape 18">
              <a:extLst>
                <a:ext uri="{FF2B5EF4-FFF2-40B4-BE49-F238E27FC236}">
                  <a16:creationId xmlns:a16="http://schemas.microsoft.com/office/drawing/2014/main" id="{DCC44355-7B7E-2C45-BADC-BCC793B7D380}"/>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5" name="Group 144">
              <a:extLst>
                <a:ext uri="{FF2B5EF4-FFF2-40B4-BE49-F238E27FC236}">
                  <a16:creationId xmlns:a16="http://schemas.microsoft.com/office/drawing/2014/main" id="{F889D38A-134B-8A4B-8F45-DFF53CF1DB48}"/>
                </a:ext>
              </a:extLst>
            </p:cNvPr>
            <p:cNvGrpSpPr/>
            <p:nvPr/>
          </p:nvGrpSpPr>
          <p:grpSpPr>
            <a:xfrm>
              <a:off x="5336668" y="2770251"/>
              <a:ext cx="1515999" cy="1311783"/>
              <a:chOff x="5336668" y="2770251"/>
              <a:chExt cx="1515999" cy="1311783"/>
            </a:xfrm>
          </p:grpSpPr>
          <p:sp>
            <p:nvSpPr>
              <p:cNvPr id="146" name="Freeform 20">
                <a:extLst>
                  <a:ext uri="{FF2B5EF4-FFF2-40B4-BE49-F238E27FC236}">
                    <a16:creationId xmlns:a16="http://schemas.microsoft.com/office/drawing/2014/main" id="{67F0637F-397E-1A44-B3BA-06EFCFB46F29}"/>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21">
                <a:extLst>
                  <a:ext uri="{FF2B5EF4-FFF2-40B4-BE49-F238E27FC236}">
                    <a16:creationId xmlns:a16="http://schemas.microsoft.com/office/drawing/2014/main" id="{40483696-2516-C543-AA06-509801291A30}"/>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48" name="Group 147">
            <a:extLst>
              <a:ext uri="{FF2B5EF4-FFF2-40B4-BE49-F238E27FC236}">
                <a16:creationId xmlns:a16="http://schemas.microsoft.com/office/drawing/2014/main" id="{87EA90BA-D58A-5847-B546-F9649B7D93F1}"/>
              </a:ext>
            </a:extLst>
          </p:cNvPr>
          <p:cNvGrpSpPr>
            <a:grpSpLocks noChangeAspect="1"/>
          </p:cNvGrpSpPr>
          <p:nvPr/>
        </p:nvGrpSpPr>
        <p:grpSpPr>
          <a:xfrm>
            <a:off x="3679479" y="1952247"/>
            <a:ext cx="220913" cy="221118"/>
            <a:chOff x="5273803" y="2606040"/>
            <a:chExt cx="1644396" cy="1645920"/>
          </a:xfrm>
        </p:grpSpPr>
        <p:sp>
          <p:nvSpPr>
            <p:cNvPr id="149" name="AutoShape 18">
              <a:extLst>
                <a:ext uri="{FF2B5EF4-FFF2-40B4-BE49-F238E27FC236}">
                  <a16:creationId xmlns:a16="http://schemas.microsoft.com/office/drawing/2014/main" id="{2B117889-6AEF-F641-954D-E966ED86B950}"/>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0" name="Group 149">
              <a:extLst>
                <a:ext uri="{FF2B5EF4-FFF2-40B4-BE49-F238E27FC236}">
                  <a16:creationId xmlns:a16="http://schemas.microsoft.com/office/drawing/2014/main" id="{EA08714B-ECAF-504F-A119-8D53F4921CDA}"/>
                </a:ext>
              </a:extLst>
            </p:cNvPr>
            <p:cNvGrpSpPr/>
            <p:nvPr/>
          </p:nvGrpSpPr>
          <p:grpSpPr>
            <a:xfrm>
              <a:off x="5336668" y="2770251"/>
              <a:ext cx="1515999" cy="1311783"/>
              <a:chOff x="5336668" y="2770251"/>
              <a:chExt cx="1515999" cy="1311783"/>
            </a:xfrm>
          </p:grpSpPr>
          <p:sp>
            <p:nvSpPr>
              <p:cNvPr id="151" name="Freeform 20">
                <a:extLst>
                  <a:ext uri="{FF2B5EF4-FFF2-40B4-BE49-F238E27FC236}">
                    <a16:creationId xmlns:a16="http://schemas.microsoft.com/office/drawing/2014/main" id="{5AD36372-9F49-104D-90E5-81A774EAB468}"/>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21">
                <a:extLst>
                  <a:ext uri="{FF2B5EF4-FFF2-40B4-BE49-F238E27FC236}">
                    <a16:creationId xmlns:a16="http://schemas.microsoft.com/office/drawing/2014/main" id="{B239625B-FAEC-194A-BA66-09F302234B8D}"/>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76" name="Group 175">
            <a:extLst>
              <a:ext uri="{FF2B5EF4-FFF2-40B4-BE49-F238E27FC236}">
                <a16:creationId xmlns:a16="http://schemas.microsoft.com/office/drawing/2014/main" id="{F6540747-0CE1-004C-A6E3-7F4A2F027EC1}"/>
              </a:ext>
            </a:extLst>
          </p:cNvPr>
          <p:cNvGrpSpPr>
            <a:grpSpLocks noChangeAspect="1"/>
          </p:cNvGrpSpPr>
          <p:nvPr/>
        </p:nvGrpSpPr>
        <p:grpSpPr>
          <a:xfrm>
            <a:off x="3691484" y="5842570"/>
            <a:ext cx="220913" cy="221118"/>
            <a:chOff x="5273803" y="2606040"/>
            <a:chExt cx="1644396" cy="1645920"/>
          </a:xfrm>
        </p:grpSpPr>
        <p:sp>
          <p:nvSpPr>
            <p:cNvPr id="177" name="AutoShape 18">
              <a:extLst>
                <a:ext uri="{FF2B5EF4-FFF2-40B4-BE49-F238E27FC236}">
                  <a16:creationId xmlns:a16="http://schemas.microsoft.com/office/drawing/2014/main" id="{2A693C5C-968B-2D49-8C51-C879A4F1B3B5}"/>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8" name="Group 177">
              <a:extLst>
                <a:ext uri="{FF2B5EF4-FFF2-40B4-BE49-F238E27FC236}">
                  <a16:creationId xmlns:a16="http://schemas.microsoft.com/office/drawing/2014/main" id="{47512325-394A-3742-A6A6-442324ED8F2F}"/>
                </a:ext>
              </a:extLst>
            </p:cNvPr>
            <p:cNvGrpSpPr/>
            <p:nvPr/>
          </p:nvGrpSpPr>
          <p:grpSpPr>
            <a:xfrm>
              <a:off x="5336668" y="2770251"/>
              <a:ext cx="1515999" cy="1311783"/>
              <a:chOff x="5336668" y="2770251"/>
              <a:chExt cx="1515999" cy="1311783"/>
            </a:xfrm>
          </p:grpSpPr>
          <p:sp>
            <p:nvSpPr>
              <p:cNvPr id="179" name="Freeform 20">
                <a:extLst>
                  <a:ext uri="{FF2B5EF4-FFF2-40B4-BE49-F238E27FC236}">
                    <a16:creationId xmlns:a16="http://schemas.microsoft.com/office/drawing/2014/main" id="{BC25EF6B-F244-4645-BB1D-6E29CD62B997}"/>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21">
                <a:extLst>
                  <a:ext uri="{FF2B5EF4-FFF2-40B4-BE49-F238E27FC236}">
                    <a16:creationId xmlns:a16="http://schemas.microsoft.com/office/drawing/2014/main" id="{600A2CFE-F2B3-D549-8FD5-AA2009DF6C8F}"/>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81" name="Group 180">
            <a:extLst>
              <a:ext uri="{FF2B5EF4-FFF2-40B4-BE49-F238E27FC236}">
                <a16:creationId xmlns:a16="http://schemas.microsoft.com/office/drawing/2014/main" id="{11CCE16F-4CAA-5E48-BD61-BC2620DB3777}"/>
              </a:ext>
            </a:extLst>
          </p:cNvPr>
          <p:cNvGrpSpPr>
            <a:grpSpLocks noChangeAspect="1"/>
          </p:cNvGrpSpPr>
          <p:nvPr/>
        </p:nvGrpSpPr>
        <p:grpSpPr>
          <a:xfrm>
            <a:off x="3691484" y="5349116"/>
            <a:ext cx="220913" cy="221118"/>
            <a:chOff x="5273803" y="2606040"/>
            <a:chExt cx="1644396" cy="1645920"/>
          </a:xfrm>
        </p:grpSpPr>
        <p:sp>
          <p:nvSpPr>
            <p:cNvPr id="182" name="AutoShape 18">
              <a:extLst>
                <a:ext uri="{FF2B5EF4-FFF2-40B4-BE49-F238E27FC236}">
                  <a16:creationId xmlns:a16="http://schemas.microsoft.com/office/drawing/2014/main" id="{D2435E7B-012D-914D-815C-72C9566C186E}"/>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3" name="Group 182">
              <a:extLst>
                <a:ext uri="{FF2B5EF4-FFF2-40B4-BE49-F238E27FC236}">
                  <a16:creationId xmlns:a16="http://schemas.microsoft.com/office/drawing/2014/main" id="{74F91385-13D5-5E4C-9498-E56DD1F56CC1}"/>
                </a:ext>
              </a:extLst>
            </p:cNvPr>
            <p:cNvGrpSpPr/>
            <p:nvPr/>
          </p:nvGrpSpPr>
          <p:grpSpPr>
            <a:xfrm>
              <a:off x="5336668" y="2770251"/>
              <a:ext cx="1515999" cy="1311783"/>
              <a:chOff x="5336668" y="2770251"/>
              <a:chExt cx="1515999" cy="1311783"/>
            </a:xfrm>
          </p:grpSpPr>
          <p:sp>
            <p:nvSpPr>
              <p:cNvPr id="184" name="Freeform 20">
                <a:extLst>
                  <a:ext uri="{FF2B5EF4-FFF2-40B4-BE49-F238E27FC236}">
                    <a16:creationId xmlns:a16="http://schemas.microsoft.com/office/drawing/2014/main" id="{2D37210F-0262-EB48-A2D9-3EB3C1B8CEBB}"/>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21">
                <a:extLst>
                  <a:ext uri="{FF2B5EF4-FFF2-40B4-BE49-F238E27FC236}">
                    <a16:creationId xmlns:a16="http://schemas.microsoft.com/office/drawing/2014/main" id="{0BCBC7BE-DAAC-884B-A2C9-6D8DF133B9C7}"/>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87" name="Group 86">
            <a:extLst>
              <a:ext uri="{FF2B5EF4-FFF2-40B4-BE49-F238E27FC236}">
                <a16:creationId xmlns:a16="http://schemas.microsoft.com/office/drawing/2014/main" id="{7BF3172D-26BF-5E44-8801-A85374FCDF66}"/>
              </a:ext>
            </a:extLst>
          </p:cNvPr>
          <p:cNvGrpSpPr>
            <a:grpSpLocks noChangeAspect="1"/>
          </p:cNvGrpSpPr>
          <p:nvPr/>
        </p:nvGrpSpPr>
        <p:grpSpPr>
          <a:xfrm>
            <a:off x="3687924" y="2185608"/>
            <a:ext cx="220913" cy="221118"/>
            <a:chOff x="5273803" y="2606040"/>
            <a:chExt cx="1644396" cy="1645920"/>
          </a:xfrm>
        </p:grpSpPr>
        <p:sp>
          <p:nvSpPr>
            <p:cNvPr id="88" name="AutoShape 18">
              <a:extLst>
                <a:ext uri="{FF2B5EF4-FFF2-40B4-BE49-F238E27FC236}">
                  <a16:creationId xmlns:a16="http://schemas.microsoft.com/office/drawing/2014/main" id="{71116EA3-2FF1-0F44-8792-795AFF0721DB}"/>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9" name="Group 88">
              <a:extLst>
                <a:ext uri="{FF2B5EF4-FFF2-40B4-BE49-F238E27FC236}">
                  <a16:creationId xmlns:a16="http://schemas.microsoft.com/office/drawing/2014/main" id="{84154699-A2AC-6044-8A64-093EA858D812}"/>
                </a:ext>
              </a:extLst>
            </p:cNvPr>
            <p:cNvGrpSpPr/>
            <p:nvPr/>
          </p:nvGrpSpPr>
          <p:grpSpPr>
            <a:xfrm>
              <a:off x="5336668" y="2770251"/>
              <a:ext cx="1515999" cy="1311783"/>
              <a:chOff x="5336668" y="2770251"/>
              <a:chExt cx="1515999" cy="1311783"/>
            </a:xfrm>
          </p:grpSpPr>
          <p:sp>
            <p:nvSpPr>
              <p:cNvPr id="90" name="Freeform 20">
                <a:extLst>
                  <a:ext uri="{FF2B5EF4-FFF2-40B4-BE49-F238E27FC236}">
                    <a16:creationId xmlns:a16="http://schemas.microsoft.com/office/drawing/2014/main" id="{F6608D5E-EF20-DE4F-BC65-71A09230E1AB}"/>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21">
                <a:extLst>
                  <a:ext uri="{FF2B5EF4-FFF2-40B4-BE49-F238E27FC236}">
                    <a16:creationId xmlns:a16="http://schemas.microsoft.com/office/drawing/2014/main" id="{5FDBE664-BDD3-F34A-8DA5-FB81456A49C7}"/>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92" name="Rectangle 91">
            <a:extLst>
              <a:ext uri="{FF2B5EF4-FFF2-40B4-BE49-F238E27FC236}">
                <a16:creationId xmlns:a16="http://schemas.microsoft.com/office/drawing/2014/main" id="{FAF51607-8FC9-4C4B-B84E-943337D67DE3}"/>
              </a:ext>
            </a:extLst>
          </p:cNvPr>
          <p:cNvSpPr/>
          <p:nvPr/>
        </p:nvSpPr>
        <p:spPr>
          <a:xfrm>
            <a:off x="9820312" y="2187251"/>
            <a:ext cx="1349712" cy="246221"/>
          </a:xfrm>
          <a:prstGeom prst="rect">
            <a:avLst/>
          </a:prstGeom>
        </p:spPr>
        <p:txBody>
          <a:bodyPr wrap="square" lIns="0" tIns="0" rIns="0" bIns="0" anchor="t" anchorCtr="0">
            <a:spAutoFit/>
          </a:bodyPr>
          <a:lstStyle/>
          <a:p>
            <a:pPr fontAlgn="base">
              <a:buSzPct val="100000"/>
              <a:buFont typeface="Trebuchet MS" panose="020B0603020202020204" pitchFamily="34" charset="0"/>
              <a:buChar char="​"/>
              <a:defRPr/>
            </a:pPr>
            <a:r>
              <a:rPr lang="en-US" sz="1600" dirty="0">
                <a:solidFill>
                  <a:schemeClr val="tx1">
                    <a:lumMod val="100000"/>
                  </a:schemeClr>
                </a:solidFill>
                <a:latin typeface="Trebuchet MS" panose="020B0603020202020204" pitchFamily="34" charset="0"/>
                <a:cs typeface="Arial" pitchFamily="34" charset="0"/>
              </a:rPr>
              <a:t>10h40-11h10</a:t>
            </a:r>
          </a:p>
        </p:txBody>
      </p:sp>
      <p:sp>
        <p:nvSpPr>
          <p:cNvPr id="93" name="Rectangle 92">
            <a:extLst>
              <a:ext uri="{FF2B5EF4-FFF2-40B4-BE49-F238E27FC236}">
                <a16:creationId xmlns:a16="http://schemas.microsoft.com/office/drawing/2014/main" id="{CBF37F0D-F141-A849-89A2-8197685763F3}"/>
              </a:ext>
            </a:extLst>
          </p:cNvPr>
          <p:cNvSpPr/>
          <p:nvPr/>
        </p:nvSpPr>
        <p:spPr>
          <a:xfrm>
            <a:off x="3582315" y="4597396"/>
            <a:ext cx="7390484" cy="502973"/>
          </a:xfrm>
          <a:prstGeom prst="rect">
            <a:avLst/>
          </a:prstGeom>
          <a:noFill/>
          <a:ln w="19050" cap="rnd" cmpd="sng" algn="ctr">
            <a:solidFill>
              <a:srgbClr val="295E7E"/>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295E7E"/>
              </a:solidFill>
            </a:endParaRPr>
          </a:p>
        </p:txBody>
      </p:sp>
      <p:cxnSp>
        <p:nvCxnSpPr>
          <p:cNvPr id="94" name="Straight Connector 93">
            <a:extLst>
              <a:ext uri="{FF2B5EF4-FFF2-40B4-BE49-F238E27FC236}">
                <a16:creationId xmlns:a16="http://schemas.microsoft.com/office/drawing/2014/main" id="{B6B9E8DA-3B30-D74E-B27E-95AEDADAE88A}"/>
              </a:ext>
            </a:extLst>
          </p:cNvPr>
          <p:cNvCxnSpPr>
            <a:cxnSpLocks/>
            <a:stCxn id="93" idx="1"/>
            <a:endCxn id="95" idx="3"/>
          </p:cNvCxnSpPr>
          <p:nvPr/>
        </p:nvCxnSpPr>
        <p:spPr>
          <a:xfrm flipH="1">
            <a:off x="2838235" y="4848883"/>
            <a:ext cx="744080" cy="1386317"/>
          </a:xfrm>
          <a:prstGeom prst="line">
            <a:avLst/>
          </a:prstGeom>
          <a:noFill/>
          <a:ln w="19050" cap="rnd" cmpd="sng" algn="ctr">
            <a:solidFill>
              <a:schemeClr val="accent5"/>
            </a:solidFill>
            <a:prstDash val="solid"/>
            <a:headEnd type="oval"/>
            <a:tailEnd type="none" w="sm" len="sm"/>
          </a:ln>
          <a:effectLst/>
        </p:spPr>
      </p:cxnSp>
      <p:sp>
        <p:nvSpPr>
          <p:cNvPr id="95" name="Rectangle 94">
            <a:extLst>
              <a:ext uri="{FF2B5EF4-FFF2-40B4-BE49-F238E27FC236}">
                <a16:creationId xmlns:a16="http://schemas.microsoft.com/office/drawing/2014/main" id="{48960D96-6877-7F49-AE60-45BE8E24451C}"/>
              </a:ext>
            </a:extLst>
          </p:cNvPr>
          <p:cNvSpPr/>
          <p:nvPr/>
        </p:nvSpPr>
        <p:spPr>
          <a:xfrm>
            <a:off x="937027" y="5916725"/>
            <a:ext cx="1901208" cy="636950"/>
          </a:xfrm>
          <a:prstGeom prst="rect">
            <a:avLst/>
          </a:prstGeom>
          <a:solidFill>
            <a:sysClr val="window" lastClr="FFFFFF"/>
          </a:solidFill>
          <a:ln w="19050" cap="rnd" cmpd="sng" algn="ctr">
            <a:solidFill>
              <a:srgbClr val="295E7E"/>
            </a:solidFill>
            <a:prstDash val="solid"/>
            <a:round/>
            <a:headEnd type="none" w="med" len="med"/>
            <a:tailEnd type="none" w="med" len="me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srgbClr val="295E7E"/>
                </a:solidFill>
              </a:rPr>
              <a:t>Final case work to be sent before 9.40 am</a:t>
            </a:r>
            <a:endParaRPr kumimoji="0" lang="en-US" sz="300" i="0" u="none" strike="noStrike" kern="0" cap="none" spc="0" normalizeH="0" baseline="0" noProof="0" dirty="0">
              <a:ln>
                <a:noFill/>
              </a:ln>
              <a:solidFill>
                <a:srgbClr val="295E7E"/>
              </a:solidFill>
              <a:effectLst/>
              <a:uLnTx/>
              <a:uFillTx/>
            </a:endParaRPr>
          </a:p>
        </p:txBody>
      </p:sp>
    </p:spTree>
    <p:custDataLst>
      <p:tags r:id="rId2"/>
    </p:custDataLst>
    <p:extLst>
      <p:ext uri="{BB962C8B-B14F-4D97-AF65-F5344CB8AC3E}">
        <p14:creationId xmlns:p14="http://schemas.microsoft.com/office/powerpoint/2010/main" val="3815859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hlinkClick r:id="rId11" action="ppaction://hlinksldjump"/>
            <a:extLst>
              <a:ext uri="{FF2B5EF4-FFF2-40B4-BE49-F238E27FC236}">
                <a16:creationId xmlns:a16="http://schemas.microsoft.com/office/drawing/2014/main" id="{150CC315-FDF5-5044-9FD3-20CFCB42A1E8}"/>
              </a:ext>
            </a:extLst>
          </p:cNvPr>
          <p:cNvSpPr/>
          <p:nvPr>
            <p:custDataLst>
              <p:tags r:id="rId3"/>
            </p:custDataLst>
          </p:nvPr>
        </p:nvSpPr>
        <p:spPr>
          <a:xfrm>
            <a:off x="5166432" y="3807180"/>
            <a:ext cx="3282950"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Trebuchet MS" panose="020B0703020202090204" pitchFamily="34" charset="0"/>
              </a:rPr>
              <a:t>Your turn now!</a:t>
            </a:r>
          </a:p>
        </p:txBody>
      </p:sp>
      <p:sp>
        <p:nvSpPr>
          <p:cNvPr id="25" name="Rectangle 24">
            <a:hlinkClick r:id="rId12" action="ppaction://hlinksldjump"/>
            <a:extLst>
              <a:ext uri="{FF2B5EF4-FFF2-40B4-BE49-F238E27FC236}">
                <a16:creationId xmlns:a16="http://schemas.microsoft.com/office/drawing/2014/main" id="{F7C4538D-0398-6C42-BC69-97D9D1F251AB}"/>
              </a:ext>
            </a:extLst>
          </p:cNvPr>
          <p:cNvSpPr/>
          <p:nvPr>
            <p:custDataLst>
              <p:tags r:id="rId4"/>
            </p:custDataLst>
          </p:nvPr>
        </p:nvSpPr>
        <p:spPr>
          <a:xfrm>
            <a:off x="5166432" y="3241321"/>
            <a:ext cx="3282950"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Trebuchet MS" panose="020B0703020202090204" pitchFamily="34" charset="0"/>
              </a:rPr>
              <a:t>Teams and Calendar</a:t>
            </a:r>
          </a:p>
        </p:txBody>
      </p:sp>
      <p:sp>
        <p:nvSpPr>
          <p:cNvPr id="24" name="Oval 23">
            <a:extLst>
              <a:ext uri="{FF2B5EF4-FFF2-40B4-BE49-F238E27FC236}">
                <a16:creationId xmlns:a16="http://schemas.microsoft.com/office/drawing/2014/main" id="{4ACE53B0-6F12-5349-A53B-A1DA97296F59}"/>
              </a:ext>
            </a:extLst>
          </p:cNvPr>
          <p:cNvSpPr/>
          <p:nvPr>
            <p:custDataLst>
              <p:tags r:id="rId5"/>
            </p:custDataLst>
          </p:nvPr>
        </p:nvSpPr>
        <p:spPr>
          <a:xfrm>
            <a:off x="4714058" y="271683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chemeClr val="tx1">
                  <a:lumMod val="100000"/>
                </a:schemeClr>
              </a:solidFill>
              <a:latin typeface="Trebuchet MS" panose="020B0703020202090204" pitchFamily="34" charset="0"/>
            </a:endParaRPr>
          </a:p>
        </p:txBody>
      </p:sp>
      <p:pic>
        <p:nvPicPr>
          <p:cNvPr id="23" name="Picture 22">
            <a:extLst>
              <a:ext uri="{FF2B5EF4-FFF2-40B4-BE49-F238E27FC236}">
                <a16:creationId xmlns:a16="http://schemas.microsoft.com/office/drawing/2014/main" id="{404EC3CE-532D-6D41-9284-D57A56309146}"/>
              </a:ext>
            </a:extLst>
          </p:cNvPr>
          <p:cNvPicPr>
            <a:picLocks/>
          </p:cNvPicPr>
          <p:nvPr>
            <p:custDataLst>
              <p:tags r:id="rId6"/>
            </p:custDataLst>
          </p:nvPr>
        </p:nvPicPr>
        <p:blipFill>
          <a:blip r:embed="rId13"/>
          <a:stretch>
            <a:fillRect/>
          </a:stretch>
        </p:blipFill>
        <p:spPr>
          <a:xfrm>
            <a:off x="4714058" y="2716837"/>
            <a:ext cx="293147" cy="292608"/>
          </a:xfrm>
          <a:prstGeom prst="rect">
            <a:avLst/>
          </a:prstGeom>
        </p:spPr>
      </p:pic>
      <p:sp>
        <p:nvSpPr>
          <p:cNvPr id="21" name="Rectangle 20">
            <a:hlinkClick r:id="rId14" action="ppaction://hlinksldjump"/>
            <a:extLst>
              <a:ext uri="{FF2B5EF4-FFF2-40B4-BE49-F238E27FC236}">
                <a16:creationId xmlns:a16="http://schemas.microsoft.com/office/drawing/2014/main" id="{2D13F05D-4E35-F441-B423-1F2947472D3B}"/>
              </a:ext>
            </a:extLst>
          </p:cNvPr>
          <p:cNvSpPr/>
          <p:nvPr>
            <p:custDataLst>
              <p:tags r:id="rId7"/>
            </p:custDataLst>
          </p:nvPr>
        </p:nvSpPr>
        <p:spPr>
          <a:xfrm>
            <a:off x="5166432" y="2675462"/>
            <a:ext cx="3282950"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Trebuchet MS" panose="020B0703020202090204" pitchFamily="34" charset="0"/>
              </a:rPr>
              <a:t>Case Study Introduction</a:t>
            </a:r>
          </a:p>
        </p:txBody>
      </p:sp>
      <p:sp>
        <p:nvSpPr>
          <p:cNvPr id="20" name="Title 19">
            <a:extLst>
              <a:ext uri="{FF2B5EF4-FFF2-40B4-BE49-F238E27FC236}">
                <a16:creationId xmlns:a16="http://schemas.microsoft.com/office/drawing/2014/main" id="{CEB1B2C6-8B2C-B542-A845-62EF2E400FF3}"/>
              </a:ext>
            </a:extLst>
          </p:cNvPr>
          <p:cNvSpPr>
            <a:spLocks noGrp="1"/>
          </p:cNvSpPr>
          <p:nvPr>
            <p:ph type="title"/>
            <p:custDataLst>
              <p:tags r:id="rId8"/>
            </p:custDataLst>
          </p:nvPr>
        </p:nvSpPr>
        <p:spPr/>
        <p:txBody>
          <a:bodyPr/>
          <a:lstStyle/>
          <a:p>
            <a:r>
              <a:rPr lang="en-US"/>
              <a:t>Agenda</a:t>
            </a:r>
          </a:p>
        </p:txBody>
      </p:sp>
      <p:graphicFrame>
        <p:nvGraphicFramePr>
          <p:cNvPr id="16" name="Object 15" hidden="1"/>
          <p:cNvGraphicFramePr>
            <a:graphicFrameLocks noChangeAspect="1"/>
          </p:cNvGraphicFramePr>
          <p:nvPr>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670" name="think-cell Slide" r:id="rId15" imgW="473" imgH="473" progId="TCLayout.ActiveDocument.1">
                  <p:embed/>
                </p:oleObj>
              </mc:Choice>
              <mc:Fallback>
                <p:oleObj name="think-cell Slide" r:id="rId15" imgW="473" imgH="473" progId="TCLayout.ActiveDocument.1">
                  <p:embed/>
                  <p:pic>
                    <p:nvPicPr>
                      <p:cNvPr id="16" name="Object 15" hidden="1"/>
                      <p:cNvPicPr/>
                      <p:nvPr/>
                    </p:nvPicPr>
                    <p:blipFill>
                      <a:blip r:embed="rId1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688666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95" name="think-cell Slide" r:id="rId6" imgW="498" imgH="499" progId="TCLayout.ActiveDocument.1">
                  <p:embed/>
                </p:oleObj>
              </mc:Choice>
              <mc:Fallback>
                <p:oleObj name="think-cell Slide" r:id="rId6" imgW="498" imgH="499"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3" name="Oval 42"/>
          <p:cNvSpPr>
            <a:spLocks noChangeAspect="1"/>
          </p:cNvSpPr>
          <p:nvPr/>
        </p:nvSpPr>
        <p:spPr>
          <a:xfrm>
            <a:off x="4208289" y="2143349"/>
            <a:ext cx="1640659" cy="1640659"/>
          </a:xfrm>
          <a:prstGeom prst="ellipse">
            <a:avLst/>
          </a:prstGeom>
          <a:solidFill>
            <a:srgbClr val="FFFFFF"/>
          </a:solidFill>
          <a:ln w="38100"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sp>
        <p:nvSpPr>
          <p:cNvPr id="8194" name="Rectangle 2"/>
          <p:cNvSpPr>
            <a:spLocks noGrp="1" noChangeArrowheads="1"/>
          </p:cNvSpPr>
          <p:nvPr>
            <p:ph type="title"/>
          </p:nvPr>
        </p:nvSpPr>
        <p:spPr>
          <a:xfrm>
            <a:off x="630000" y="622800"/>
            <a:ext cx="10933200" cy="941796"/>
          </a:xfrm>
          <a:prstGeom prst="rect">
            <a:avLst/>
          </a:prstGeom>
        </p:spPr>
        <p:txBody>
          <a:bodyPr>
            <a:spAutoFit/>
          </a:bodyPr>
          <a:lstStyle/>
          <a:p>
            <a:r>
              <a:rPr lang="en-US" altLang="fr-FR">
                <a:solidFill>
                  <a:schemeClr val="tx2"/>
                </a:solidFill>
                <a:latin typeface="Trebuchet MS" panose="020B0603020202020204" pitchFamily="34" charset="0"/>
              </a:rPr>
              <a:t>Objective : experience a strategy and data science consulting project in three days</a:t>
            </a:r>
            <a:endParaRPr lang="en-US" altLang="fr-FR" dirty="0">
              <a:solidFill>
                <a:schemeClr val="tx2"/>
              </a:solidFill>
              <a:latin typeface="Trebuchet MS" panose="020B0603020202020204" pitchFamily="34" charset="0"/>
            </a:endParaRPr>
          </a:p>
        </p:txBody>
      </p:sp>
      <p:sp>
        <p:nvSpPr>
          <p:cNvPr id="8195" name="Content Placeholder 5"/>
          <p:cNvSpPr>
            <a:spLocks noGrp="1"/>
          </p:cNvSpPr>
          <p:nvPr>
            <p:ph idx="4294967295"/>
          </p:nvPr>
        </p:nvSpPr>
        <p:spPr>
          <a:xfrm>
            <a:off x="362655" y="3858053"/>
            <a:ext cx="1712924" cy="1805081"/>
          </a:xfrm>
        </p:spPr>
        <p:txBody>
          <a:bodyPr lIns="0" tIns="0" rIns="0" bIns="0"/>
          <a:lstStyle/>
          <a:p>
            <a:pPr algn="ctr">
              <a:lnSpc>
                <a:spcPct val="100000"/>
              </a:lnSpc>
              <a:spcAft>
                <a:spcPts val="0"/>
              </a:spcAft>
              <a:buSzPct val="100000"/>
              <a:buFont typeface="Trebuchet MS" panose="020B0603020202020204" pitchFamily="34" charset="0"/>
              <a:buChar char="​"/>
            </a:pPr>
            <a:r>
              <a:rPr lang="en-US" altLang="fr-FR" sz="1600">
                <a:solidFill>
                  <a:schemeClr val="tx1">
                    <a:lumMod val="100000"/>
                  </a:schemeClr>
                </a:solidFill>
                <a:latin typeface="Trebuchet MS" panose="020B0603020202020204" pitchFamily="34" charset="0"/>
              </a:rPr>
              <a:t>Answer a strategy question</a:t>
            </a:r>
            <a:endParaRPr lang="en-US" altLang="fr-FR" sz="1600" dirty="0">
              <a:solidFill>
                <a:schemeClr val="tx1">
                  <a:lumMod val="100000"/>
                </a:schemeClr>
              </a:solidFill>
              <a:latin typeface="Trebuchet MS" panose="020B0603020202020204" pitchFamily="34" charset="0"/>
            </a:endParaRPr>
          </a:p>
        </p:txBody>
      </p:sp>
      <p:sp>
        <p:nvSpPr>
          <p:cNvPr id="7" name="Content Placeholder 5"/>
          <p:cNvSpPr txBox="1">
            <a:spLocks/>
          </p:cNvSpPr>
          <p:nvPr/>
        </p:nvSpPr>
        <p:spPr>
          <a:xfrm>
            <a:off x="630000" y="5657581"/>
            <a:ext cx="10249601" cy="571375"/>
          </a:xfrm>
          <a:prstGeom prst="rect">
            <a:avLst/>
          </a:prstGeom>
        </p:spPr>
        <p:txBody>
          <a:bodyPr vert="horz" wrap="none" lIns="0" tIns="0" rIns="0" bIns="0" rtlCol="0">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buNone/>
            </a:pPr>
            <a:r>
              <a:rPr lang="en-US" altLang="fr-FR" sz="1400" i="1">
                <a:solidFill>
                  <a:srgbClr val="575757"/>
                </a:solidFill>
              </a:rPr>
              <a:t>Expect the problem statement to be open-ended and ambiguous compared to other case studies you have already worked on. </a:t>
            </a:r>
          </a:p>
          <a:p>
            <a:pPr>
              <a:buNone/>
            </a:pPr>
            <a:r>
              <a:rPr lang="en-US" altLang="fr-FR" sz="1400" i="1">
                <a:solidFill>
                  <a:srgbClr val="575757"/>
                </a:solidFill>
              </a:rPr>
              <a:t>The objective is to be confronted to a « real-life » situation, our clients rarely have a specific idea of the expected answer</a:t>
            </a:r>
            <a:endParaRPr lang="en-US" altLang="fr-FR" sz="1400" i="1" dirty="0">
              <a:solidFill>
                <a:srgbClr val="575757"/>
              </a:solidFill>
            </a:endParaRPr>
          </a:p>
        </p:txBody>
      </p:sp>
      <p:grpSp>
        <p:nvGrpSpPr>
          <p:cNvPr id="49" name="Group 48"/>
          <p:cNvGrpSpPr/>
          <p:nvPr/>
        </p:nvGrpSpPr>
        <p:grpSpPr>
          <a:xfrm>
            <a:off x="398787" y="2143349"/>
            <a:ext cx="1640659" cy="1640659"/>
            <a:chOff x="398787" y="1748902"/>
            <a:chExt cx="1640659" cy="1640659"/>
          </a:xfrm>
        </p:grpSpPr>
        <p:sp>
          <p:nvSpPr>
            <p:cNvPr id="41" name="Oval 40"/>
            <p:cNvSpPr>
              <a:spLocks noChangeAspect="1"/>
            </p:cNvSpPr>
            <p:nvPr/>
          </p:nvSpPr>
          <p:spPr>
            <a:xfrm>
              <a:off x="398787" y="1748902"/>
              <a:ext cx="1640659" cy="1640659"/>
            </a:xfrm>
            <a:prstGeom prst="ellipse">
              <a:avLst/>
            </a:prstGeom>
            <a:solidFill>
              <a:srgbClr val="FFFFFF"/>
            </a:solidFill>
            <a:ln w="38100"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grpSp>
          <p:nvGrpSpPr>
            <p:cNvPr id="8" name="bcgIcons_QuestionMark">
              <a:extLst>
                <a:ext uri="{FF2B5EF4-FFF2-40B4-BE49-F238E27FC236}">
                  <a16:creationId xmlns:a16="http://schemas.microsoft.com/office/drawing/2014/main" id="{0EF1C9E0-0ACD-47BD-AA0B-B78A8959BC76}"/>
                </a:ext>
              </a:extLst>
            </p:cNvPr>
            <p:cNvGrpSpPr>
              <a:grpSpLocks noChangeAspect="1"/>
            </p:cNvGrpSpPr>
            <p:nvPr/>
          </p:nvGrpSpPr>
          <p:grpSpPr bwMode="auto">
            <a:xfrm>
              <a:off x="595678" y="1945215"/>
              <a:ext cx="1246877" cy="1248033"/>
              <a:chOff x="1682" y="0"/>
              <a:chExt cx="4316" cy="4320"/>
            </a:xfrm>
          </p:grpSpPr>
          <p:sp>
            <p:nvSpPr>
              <p:cNvPr id="9" name="AutoShape 13">
                <a:extLst>
                  <a:ext uri="{FF2B5EF4-FFF2-40B4-BE49-F238E27FC236}">
                    <a16:creationId xmlns:a16="http://schemas.microsoft.com/office/drawing/2014/main" id="{291A52DF-4C18-4290-8D69-642FF10F579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5">
                <a:extLst>
                  <a:ext uri="{FF2B5EF4-FFF2-40B4-BE49-F238E27FC236}">
                    <a16:creationId xmlns:a16="http://schemas.microsoft.com/office/drawing/2014/main" id="{5A4A6029-163C-47CC-8FB7-41D574FF9E75}"/>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6">
                <a:extLst>
                  <a:ext uri="{FF2B5EF4-FFF2-40B4-BE49-F238E27FC236}">
                    <a16:creationId xmlns:a16="http://schemas.microsoft.com/office/drawing/2014/main" id="{DFC2EDA6-50A5-4CEA-9C3E-AC1A8C75AFB5}"/>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8" name="Group 47"/>
          <p:cNvGrpSpPr/>
          <p:nvPr/>
        </p:nvGrpSpPr>
        <p:grpSpPr>
          <a:xfrm>
            <a:off x="2303538" y="2143349"/>
            <a:ext cx="1640659" cy="1640659"/>
            <a:chOff x="2303538" y="1748902"/>
            <a:chExt cx="1640659" cy="1640659"/>
          </a:xfrm>
        </p:grpSpPr>
        <p:sp>
          <p:nvSpPr>
            <p:cNvPr id="42" name="Oval 41"/>
            <p:cNvSpPr>
              <a:spLocks noChangeAspect="1"/>
            </p:cNvSpPr>
            <p:nvPr/>
          </p:nvSpPr>
          <p:spPr>
            <a:xfrm>
              <a:off x="2303538" y="1748902"/>
              <a:ext cx="1640659" cy="1640659"/>
            </a:xfrm>
            <a:prstGeom prst="ellipse">
              <a:avLst/>
            </a:prstGeom>
            <a:solidFill>
              <a:srgbClr val="FFFFFF"/>
            </a:solidFill>
            <a:ln w="38100"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grpSp>
          <p:nvGrpSpPr>
            <p:cNvPr id="12" name="Group 11"/>
            <p:cNvGrpSpPr>
              <a:grpSpLocks noChangeAspect="1"/>
            </p:cNvGrpSpPr>
            <p:nvPr/>
          </p:nvGrpSpPr>
          <p:grpSpPr>
            <a:xfrm>
              <a:off x="2500333" y="1945094"/>
              <a:ext cx="1247070" cy="1248274"/>
              <a:chOff x="5273675" y="2514600"/>
              <a:chExt cx="1644650" cy="1646238"/>
            </a:xfrm>
          </p:grpSpPr>
          <p:sp>
            <p:nvSpPr>
              <p:cNvPr id="13" name="AutoShape 91"/>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 name="Group 13"/>
              <p:cNvGrpSpPr/>
              <p:nvPr/>
            </p:nvGrpSpPr>
            <p:grpSpPr>
              <a:xfrm>
                <a:off x="5508625" y="2774949"/>
                <a:ext cx="1174751" cy="1108076"/>
                <a:chOff x="5508625" y="2774949"/>
                <a:chExt cx="1174751" cy="1108076"/>
              </a:xfrm>
            </p:grpSpPr>
            <p:sp>
              <p:nvSpPr>
                <p:cNvPr id="15" name="Freeform 14"/>
                <p:cNvSpPr>
                  <a:spLocks/>
                </p:cNvSpPr>
                <p:nvPr/>
              </p:nvSpPr>
              <p:spPr bwMode="auto">
                <a:xfrm>
                  <a:off x="5854271" y="2774949"/>
                  <a:ext cx="829105" cy="914400"/>
                </a:xfrm>
                <a:custGeom>
                  <a:avLst/>
                  <a:gdLst>
                    <a:gd name="connsiteX0" fmla="*/ 595862 w 829105"/>
                    <a:gd name="connsiteY0" fmla="*/ 301625 h 914400"/>
                    <a:gd name="connsiteX1" fmla="*/ 613694 w 829105"/>
                    <a:gd name="connsiteY1" fmla="*/ 306624 h 914400"/>
                    <a:gd name="connsiteX2" fmla="*/ 813413 w 829105"/>
                    <a:gd name="connsiteY2" fmla="*/ 432322 h 914400"/>
                    <a:gd name="connsiteX3" fmla="*/ 814126 w 829105"/>
                    <a:gd name="connsiteY3" fmla="*/ 432322 h 914400"/>
                    <a:gd name="connsiteX4" fmla="*/ 815553 w 829105"/>
                    <a:gd name="connsiteY4" fmla="*/ 433750 h 914400"/>
                    <a:gd name="connsiteX5" fmla="*/ 816979 w 829105"/>
                    <a:gd name="connsiteY5" fmla="*/ 434464 h 914400"/>
                    <a:gd name="connsiteX6" fmla="*/ 818406 w 829105"/>
                    <a:gd name="connsiteY6" fmla="*/ 435893 h 914400"/>
                    <a:gd name="connsiteX7" fmla="*/ 819833 w 829105"/>
                    <a:gd name="connsiteY7" fmla="*/ 436607 h 914400"/>
                    <a:gd name="connsiteX8" fmla="*/ 820546 w 829105"/>
                    <a:gd name="connsiteY8" fmla="*/ 438035 h 914400"/>
                    <a:gd name="connsiteX9" fmla="*/ 821972 w 829105"/>
                    <a:gd name="connsiteY9" fmla="*/ 439464 h 914400"/>
                    <a:gd name="connsiteX10" fmla="*/ 821972 w 829105"/>
                    <a:gd name="connsiteY10" fmla="*/ 440178 h 914400"/>
                    <a:gd name="connsiteX11" fmla="*/ 822686 w 829105"/>
                    <a:gd name="connsiteY11" fmla="*/ 440892 h 914400"/>
                    <a:gd name="connsiteX12" fmla="*/ 823399 w 829105"/>
                    <a:gd name="connsiteY12" fmla="*/ 442321 h 914400"/>
                    <a:gd name="connsiteX13" fmla="*/ 824112 w 829105"/>
                    <a:gd name="connsiteY13" fmla="*/ 442321 h 914400"/>
                    <a:gd name="connsiteX14" fmla="*/ 824826 w 829105"/>
                    <a:gd name="connsiteY14" fmla="*/ 443035 h 914400"/>
                    <a:gd name="connsiteX15" fmla="*/ 825539 w 829105"/>
                    <a:gd name="connsiteY15" fmla="*/ 444463 h 914400"/>
                    <a:gd name="connsiteX16" fmla="*/ 825539 w 829105"/>
                    <a:gd name="connsiteY16" fmla="*/ 445177 h 914400"/>
                    <a:gd name="connsiteX17" fmla="*/ 826252 w 829105"/>
                    <a:gd name="connsiteY17" fmla="*/ 445892 h 914400"/>
                    <a:gd name="connsiteX18" fmla="*/ 826965 w 829105"/>
                    <a:gd name="connsiteY18" fmla="*/ 447320 h 914400"/>
                    <a:gd name="connsiteX19" fmla="*/ 826965 w 829105"/>
                    <a:gd name="connsiteY19" fmla="*/ 448748 h 914400"/>
                    <a:gd name="connsiteX20" fmla="*/ 826965 w 829105"/>
                    <a:gd name="connsiteY20" fmla="*/ 449462 h 914400"/>
                    <a:gd name="connsiteX21" fmla="*/ 827679 w 829105"/>
                    <a:gd name="connsiteY21" fmla="*/ 450891 h 914400"/>
                    <a:gd name="connsiteX22" fmla="*/ 827679 w 829105"/>
                    <a:gd name="connsiteY22" fmla="*/ 451605 h 914400"/>
                    <a:gd name="connsiteX23" fmla="*/ 828392 w 829105"/>
                    <a:gd name="connsiteY23" fmla="*/ 451605 h 914400"/>
                    <a:gd name="connsiteX24" fmla="*/ 828392 w 829105"/>
                    <a:gd name="connsiteY24" fmla="*/ 452319 h 914400"/>
                    <a:gd name="connsiteX25" fmla="*/ 828392 w 829105"/>
                    <a:gd name="connsiteY25" fmla="*/ 453748 h 914400"/>
                    <a:gd name="connsiteX26" fmla="*/ 828392 w 829105"/>
                    <a:gd name="connsiteY26" fmla="*/ 455176 h 914400"/>
                    <a:gd name="connsiteX27" fmla="*/ 829105 w 829105"/>
                    <a:gd name="connsiteY27" fmla="*/ 455176 h 914400"/>
                    <a:gd name="connsiteX28" fmla="*/ 829105 w 829105"/>
                    <a:gd name="connsiteY28" fmla="*/ 457319 h 914400"/>
                    <a:gd name="connsiteX29" fmla="*/ 829105 w 829105"/>
                    <a:gd name="connsiteY29" fmla="*/ 458033 h 914400"/>
                    <a:gd name="connsiteX30" fmla="*/ 829105 w 829105"/>
                    <a:gd name="connsiteY30" fmla="*/ 458747 h 914400"/>
                    <a:gd name="connsiteX31" fmla="*/ 829105 w 829105"/>
                    <a:gd name="connsiteY31" fmla="*/ 460175 h 914400"/>
                    <a:gd name="connsiteX32" fmla="*/ 829105 w 829105"/>
                    <a:gd name="connsiteY32" fmla="*/ 461604 h 914400"/>
                    <a:gd name="connsiteX33" fmla="*/ 829105 w 829105"/>
                    <a:gd name="connsiteY33" fmla="*/ 462318 h 914400"/>
                    <a:gd name="connsiteX34" fmla="*/ 829105 w 829105"/>
                    <a:gd name="connsiteY34" fmla="*/ 463746 h 914400"/>
                    <a:gd name="connsiteX35" fmla="*/ 829105 w 829105"/>
                    <a:gd name="connsiteY35" fmla="*/ 464460 h 914400"/>
                    <a:gd name="connsiteX36" fmla="*/ 829105 w 829105"/>
                    <a:gd name="connsiteY36" fmla="*/ 465175 h 914400"/>
                    <a:gd name="connsiteX37" fmla="*/ 828392 w 829105"/>
                    <a:gd name="connsiteY37" fmla="*/ 466603 h 914400"/>
                    <a:gd name="connsiteX38" fmla="*/ 828392 w 829105"/>
                    <a:gd name="connsiteY38" fmla="*/ 468031 h 914400"/>
                    <a:gd name="connsiteX39" fmla="*/ 828392 w 829105"/>
                    <a:gd name="connsiteY39" fmla="*/ 468746 h 914400"/>
                    <a:gd name="connsiteX40" fmla="*/ 827679 w 829105"/>
                    <a:gd name="connsiteY40" fmla="*/ 470174 h 914400"/>
                    <a:gd name="connsiteX41" fmla="*/ 827679 w 829105"/>
                    <a:gd name="connsiteY41" fmla="*/ 470888 h 914400"/>
                    <a:gd name="connsiteX42" fmla="*/ 826965 w 829105"/>
                    <a:gd name="connsiteY42" fmla="*/ 471602 h 914400"/>
                    <a:gd name="connsiteX43" fmla="*/ 826965 w 829105"/>
                    <a:gd name="connsiteY43" fmla="*/ 473031 h 914400"/>
                    <a:gd name="connsiteX44" fmla="*/ 826252 w 829105"/>
                    <a:gd name="connsiteY44" fmla="*/ 474459 h 914400"/>
                    <a:gd name="connsiteX45" fmla="*/ 825539 w 829105"/>
                    <a:gd name="connsiteY45" fmla="*/ 475887 h 914400"/>
                    <a:gd name="connsiteX46" fmla="*/ 824826 w 829105"/>
                    <a:gd name="connsiteY46" fmla="*/ 477316 h 914400"/>
                    <a:gd name="connsiteX47" fmla="*/ 707847 w 829105"/>
                    <a:gd name="connsiteY47" fmla="*/ 682288 h 914400"/>
                    <a:gd name="connsiteX48" fmla="*/ 678603 w 829105"/>
                    <a:gd name="connsiteY48" fmla="*/ 698715 h 914400"/>
                    <a:gd name="connsiteX49" fmla="*/ 662197 w 829105"/>
                    <a:gd name="connsiteY49" fmla="*/ 694430 h 914400"/>
                    <a:gd name="connsiteX50" fmla="*/ 650071 w 829105"/>
                    <a:gd name="connsiteY50" fmla="*/ 648721 h 914400"/>
                    <a:gd name="connsiteX51" fmla="*/ 730672 w 829105"/>
                    <a:gd name="connsiteY51" fmla="*/ 508026 h 914400"/>
                    <a:gd name="connsiteX52" fmla="*/ 292717 w 829105"/>
                    <a:gd name="connsiteY52" fmla="*/ 914400 h 914400"/>
                    <a:gd name="connsiteX53" fmla="*/ 289150 w 829105"/>
                    <a:gd name="connsiteY53" fmla="*/ 898688 h 914400"/>
                    <a:gd name="connsiteX54" fmla="*/ 273458 w 829105"/>
                    <a:gd name="connsiteY54" fmla="*/ 838696 h 914400"/>
                    <a:gd name="connsiteX55" fmla="*/ 259192 w 829105"/>
                    <a:gd name="connsiteY55" fmla="*/ 797273 h 914400"/>
                    <a:gd name="connsiteX56" fmla="*/ 273458 w 829105"/>
                    <a:gd name="connsiteY56" fmla="*/ 765134 h 914400"/>
                    <a:gd name="connsiteX57" fmla="*/ 289150 w 829105"/>
                    <a:gd name="connsiteY57" fmla="*/ 735138 h 914400"/>
                    <a:gd name="connsiteX58" fmla="*/ 376171 w 829105"/>
                    <a:gd name="connsiteY58" fmla="*/ 620868 h 914400"/>
                    <a:gd name="connsiteX59" fmla="*/ 707134 w 829105"/>
                    <a:gd name="connsiteY59" fmla="*/ 444463 h 914400"/>
                    <a:gd name="connsiteX60" fmla="*/ 578030 w 829105"/>
                    <a:gd name="connsiteY60" fmla="*/ 363760 h 914400"/>
                    <a:gd name="connsiteX61" fmla="*/ 567330 w 829105"/>
                    <a:gd name="connsiteY61" fmla="*/ 317337 h 914400"/>
                    <a:gd name="connsiteX62" fmla="*/ 595862 w 829105"/>
                    <a:gd name="connsiteY62" fmla="*/ 301625 h 914400"/>
                    <a:gd name="connsiteX63" fmla="*/ 236718 w 829105"/>
                    <a:gd name="connsiteY63" fmla="*/ 0 h 914400"/>
                    <a:gd name="connsiteX64" fmla="*/ 237434 w 829105"/>
                    <a:gd name="connsiteY64" fmla="*/ 0 h 914400"/>
                    <a:gd name="connsiteX65" fmla="*/ 239582 w 829105"/>
                    <a:gd name="connsiteY65" fmla="*/ 0 h 914400"/>
                    <a:gd name="connsiteX66" fmla="*/ 241013 w 829105"/>
                    <a:gd name="connsiteY66" fmla="*/ 0 h 914400"/>
                    <a:gd name="connsiteX67" fmla="*/ 242445 w 829105"/>
                    <a:gd name="connsiteY67" fmla="*/ 0 h 914400"/>
                    <a:gd name="connsiteX68" fmla="*/ 243876 w 829105"/>
                    <a:gd name="connsiteY68" fmla="*/ 0 h 914400"/>
                    <a:gd name="connsiteX69" fmla="*/ 246023 w 829105"/>
                    <a:gd name="connsiteY69" fmla="*/ 0 h 914400"/>
                    <a:gd name="connsiteX70" fmla="*/ 246739 w 829105"/>
                    <a:gd name="connsiteY70" fmla="*/ 0 h 914400"/>
                    <a:gd name="connsiteX71" fmla="*/ 248171 w 829105"/>
                    <a:gd name="connsiteY71" fmla="*/ 714 h 914400"/>
                    <a:gd name="connsiteX72" fmla="*/ 250318 w 829105"/>
                    <a:gd name="connsiteY72" fmla="*/ 714 h 914400"/>
                    <a:gd name="connsiteX73" fmla="*/ 251749 w 829105"/>
                    <a:gd name="connsiteY73" fmla="*/ 1428 h 914400"/>
                    <a:gd name="connsiteX74" fmla="*/ 253181 w 829105"/>
                    <a:gd name="connsiteY74" fmla="*/ 1428 h 914400"/>
                    <a:gd name="connsiteX75" fmla="*/ 255328 w 829105"/>
                    <a:gd name="connsiteY75" fmla="*/ 2143 h 914400"/>
                    <a:gd name="connsiteX76" fmla="*/ 256044 w 829105"/>
                    <a:gd name="connsiteY76" fmla="*/ 2143 h 914400"/>
                    <a:gd name="connsiteX77" fmla="*/ 257475 w 829105"/>
                    <a:gd name="connsiteY77" fmla="*/ 2857 h 914400"/>
                    <a:gd name="connsiteX78" fmla="*/ 259623 w 829105"/>
                    <a:gd name="connsiteY78" fmla="*/ 3571 h 914400"/>
                    <a:gd name="connsiteX79" fmla="*/ 260339 w 829105"/>
                    <a:gd name="connsiteY79" fmla="*/ 3571 h 914400"/>
                    <a:gd name="connsiteX80" fmla="*/ 261770 w 829105"/>
                    <a:gd name="connsiteY80" fmla="*/ 4285 h 914400"/>
                    <a:gd name="connsiteX81" fmla="*/ 263202 w 829105"/>
                    <a:gd name="connsiteY81" fmla="*/ 4999 h 914400"/>
                    <a:gd name="connsiteX82" fmla="*/ 264633 w 829105"/>
                    <a:gd name="connsiteY82" fmla="*/ 5714 h 914400"/>
                    <a:gd name="connsiteX83" fmla="*/ 266065 w 829105"/>
                    <a:gd name="connsiteY83" fmla="*/ 6428 h 914400"/>
                    <a:gd name="connsiteX84" fmla="*/ 266065 w 829105"/>
                    <a:gd name="connsiteY84" fmla="*/ 7142 h 914400"/>
                    <a:gd name="connsiteX85" fmla="*/ 267496 w 829105"/>
                    <a:gd name="connsiteY85" fmla="*/ 7856 h 914400"/>
                    <a:gd name="connsiteX86" fmla="*/ 268212 w 829105"/>
                    <a:gd name="connsiteY86" fmla="*/ 7856 h 914400"/>
                    <a:gd name="connsiteX87" fmla="*/ 269644 w 829105"/>
                    <a:gd name="connsiteY87" fmla="*/ 9285 h 914400"/>
                    <a:gd name="connsiteX88" fmla="*/ 271075 w 829105"/>
                    <a:gd name="connsiteY88" fmla="*/ 9999 h 914400"/>
                    <a:gd name="connsiteX89" fmla="*/ 465759 w 829105"/>
                    <a:gd name="connsiteY89" fmla="*/ 164270 h 914400"/>
                    <a:gd name="connsiteX90" fmla="*/ 473633 w 829105"/>
                    <a:gd name="connsiteY90" fmla="*/ 229978 h 914400"/>
                    <a:gd name="connsiteX91" fmla="*/ 436414 w 829105"/>
                    <a:gd name="connsiteY91" fmla="*/ 247834 h 914400"/>
                    <a:gd name="connsiteX92" fmla="*/ 407068 w 829105"/>
                    <a:gd name="connsiteY92" fmla="*/ 237835 h 914400"/>
                    <a:gd name="connsiteX93" fmla="*/ 288969 w 829105"/>
                    <a:gd name="connsiteY93" fmla="*/ 144272 h 914400"/>
                    <a:gd name="connsiteX94" fmla="*/ 288969 w 829105"/>
                    <a:gd name="connsiteY94" fmla="*/ 675651 h 914400"/>
                    <a:gd name="connsiteX95" fmla="*/ 273222 w 829105"/>
                    <a:gd name="connsiteY95" fmla="*/ 699935 h 914400"/>
                    <a:gd name="connsiteX96" fmla="*/ 257475 w 829105"/>
                    <a:gd name="connsiteY96" fmla="*/ 727075 h 914400"/>
                    <a:gd name="connsiteX97" fmla="*/ 257475 w 829105"/>
                    <a:gd name="connsiteY97" fmla="*/ 112132 h 914400"/>
                    <a:gd name="connsiteX98" fmla="*/ 266065 w 829105"/>
                    <a:gd name="connsiteY98" fmla="*/ 97848 h 914400"/>
                    <a:gd name="connsiteX99" fmla="*/ 283243 w 829105"/>
                    <a:gd name="connsiteY99" fmla="*/ 99991 h 914400"/>
                    <a:gd name="connsiteX100" fmla="*/ 426393 w 829105"/>
                    <a:gd name="connsiteY100" fmla="*/ 213551 h 914400"/>
                    <a:gd name="connsiteX101" fmla="*/ 436414 w 829105"/>
                    <a:gd name="connsiteY101" fmla="*/ 216408 h 914400"/>
                    <a:gd name="connsiteX102" fmla="*/ 448581 w 829105"/>
                    <a:gd name="connsiteY102" fmla="*/ 210694 h 914400"/>
                    <a:gd name="connsiteX103" fmla="*/ 446434 w 829105"/>
                    <a:gd name="connsiteY103" fmla="*/ 188554 h 914400"/>
                    <a:gd name="connsiteX104" fmla="*/ 251749 w 829105"/>
                    <a:gd name="connsiteY104" fmla="*/ 34997 h 914400"/>
                    <a:gd name="connsiteX105" fmla="*/ 251034 w 829105"/>
                    <a:gd name="connsiteY105" fmla="*/ 34282 h 914400"/>
                    <a:gd name="connsiteX106" fmla="*/ 250318 w 829105"/>
                    <a:gd name="connsiteY106" fmla="*/ 34282 h 914400"/>
                    <a:gd name="connsiteX107" fmla="*/ 250318 w 829105"/>
                    <a:gd name="connsiteY107" fmla="*/ 33568 h 914400"/>
                    <a:gd name="connsiteX108" fmla="*/ 249602 w 829105"/>
                    <a:gd name="connsiteY108" fmla="*/ 33568 h 914400"/>
                    <a:gd name="connsiteX109" fmla="*/ 248886 w 829105"/>
                    <a:gd name="connsiteY109" fmla="*/ 32854 h 914400"/>
                    <a:gd name="connsiteX110" fmla="*/ 248171 w 829105"/>
                    <a:gd name="connsiteY110" fmla="*/ 32854 h 914400"/>
                    <a:gd name="connsiteX111" fmla="*/ 247455 w 829105"/>
                    <a:gd name="connsiteY111" fmla="*/ 32854 h 914400"/>
                    <a:gd name="connsiteX112" fmla="*/ 246739 w 829105"/>
                    <a:gd name="connsiteY112" fmla="*/ 32140 h 914400"/>
                    <a:gd name="connsiteX113" fmla="*/ 246023 w 829105"/>
                    <a:gd name="connsiteY113" fmla="*/ 32140 h 914400"/>
                    <a:gd name="connsiteX114" fmla="*/ 245308 w 829105"/>
                    <a:gd name="connsiteY114" fmla="*/ 32140 h 914400"/>
                    <a:gd name="connsiteX115" fmla="*/ 244592 w 829105"/>
                    <a:gd name="connsiteY115" fmla="*/ 31426 h 914400"/>
                    <a:gd name="connsiteX116" fmla="*/ 243876 w 829105"/>
                    <a:gd name="connsiteY116" fmla="*/ 31426 h 914400"/>
                    <a:gd name="connsiteX117" fmla="*/ 241729 w 829105"/>
                    <a:gd name="connsiteY117" fmla="*/ 31426 h 914400"/>
                    <a:gd name="connsiteX118" fmla="*/ 240297 w 829105"/>
                    <a:gd name="connsiteY118" fmla="*/ 31426 h 914400"/>
                    <a:gd name="connsiteX119" fmla="*/ 238150 w 829105"/>
                    <a:gd name="connsiteY119" fmla="*/ 32140 h 914400"/>
                    <a:gd name="connsiteX120" fmla="*/ 237434 w 829105"/>
                    <a:gd name="connsiteY120" fmla="*/ 32140 h 914400"/>
                    <a:gd name="connsiteX121" fmla="*/ 236718 w 829105"/>
                    <a:gd name="connsiteY121" fmla="*/ 32140 h 914400"/>
                    <a:gd name="connsiteX122" fmla="*/ 236003 w 829105"/>
                    <a:gd name="connsiteY122" fmla="*/ 32854 h 914400"/>
                    <a:gd name="connsiteX123" fmla="*/ 235287 w 829105"/>
                    <a:gd name="connsiteY123" fmla="*/ 32854 h 914400"/>
                    <a:gd name="connsiteX124" fmla="*/ 234571 w 829105"/>
                    <a:gd name="connsiteY124" fmla="*/ 32854 h 914400"/>
                    <a:gd name="connsiteX125" fmla="*/ 233855 w 829105"/>
                    <a:gd name="connsiteY125" fmla="*/ 33568 h 914400"/>
                    <a:gd name="connsiteX126" fmla="*/ 233140 w 829105"/>
                    <a:gd name="connsiteY126" fmla="*/ 34282 h 914400"/>
                    <a:gd name="connsiteX127" fmla="*/ 232424 w 829105"/>
                    <a:gd name="connsiteY127" fmla="*/ 34282 h 914400"/>
                    <a:gd name="connsiteX128" fmla="*/ 231708 w 829105"/>
                    <a:gd name="connsiteY128" fmla="*/ 34997 h 914400"/>
                    <a:gd name="connsiteX129" fmla="*/ 37024 w 829105"/>
                    <a:gd name="connsiteY129" fmla="*/ 188554 h 914400"/>
                    <a:gd name="connsiteX130" fmla="*/ 34877 w 829105"/>
                    <a:gd name="connsiteY130" fmla="*/ 210694 h 914400"/>
                    <a:gd name="connsiteX131" fmla="*/ 47044 w 829105"/>
                    <a:gd name="connsiteY131" fmla="*/ 216408 h 914400"/>
                    <a:gd name="connsiteX132" fmla="*/ 57065 w 829105"/>
                    <a:gd name="connsiteY132" fmla="*/ 213551 h 914400"/>
                    <a:gd name="connsiteX133" fmla="*/ 200215 w 829105"/>
                    <a:gd name="connsiteY133" fmla="*/ 99991 h 914400"/>
                    <a:gd name="connsiteX134" fmla="*/ 210236 w 829105"/>
                    <a:gd name="connsiteY134" fmla="*/ 96419 h 914400"/>
                    <a:gd name="connsiteX135" fmla="*/ 217393 w 829105"/>
                    <a:gd name="connsiteY135" fmla="*/ 97848 h 914400"/>
                    <a:gd name="connsiteX136" fmla="*/ 225982 w 829105"/>
                    <a:gd name="connsiteY136" fmla="*/ 112132 h 914400"/>
                    <a:gd name="connsiteX137" fmla="*/ 225982 w 829105"/>
                    <a:gd name="connsiteY137" fmla="*/ 727075 h 914400"/>
                    <a:gd name="connsiteX138" fmla="*/ 210236 w 829105"/>
                    <a:gd name="connsiteY138" fmla="*/ 699935 h 914400"/>
                    <a:gd name="connsiteX139" fmla="*/ 194489 w 829105"/>
                    <a:gd name="connsiteY139" fmla="*/ 675651 h 914400"/>
                    <a:gd name="connsiteX140" fmla="*/ 194489 w 829105"/>
                    <a:gd name="connsiteY140" fmla="*/ 144272 h 914400"/>
                    <a:gd name="connsiteX141" fmla="*/ 76390 w 829105"/>
                    <a:gd name="connsiteY141" fmla="*/ 237835 h 914400"/>
                    <a:gd name="connsiteX142" fmla="*/ 47044 w 829105"/>
                    <a:gd name="connsiteY142" fmla="*/ 247834 h 914400"/>
                    <a:gd name="connsiteX143" fmla="*/ 9825 w 829105"/>
                    <a:gd name="connsiteY143" fmla="*/ 229978 h 914400"/>
                    <a:gd name="connsiteX144" fmla="*/ 17699 w 829105"/>
                    <a:gd name="connsiteY144" fmla="*/ 164270 h 914400"/>
                    <a:gd name="connsiteX145" fmla="*/ 212383 w 829105"/>
                    <a:gd name="connsiteY145" fmla="*/ 9999 h 914400"/>
                    <a:gd name="connsiteX146" fmla="*/ 213814 w 829105"/>
                    <a:gd name="connsiteY146" fmla="*/ 9285 h 914400"/>
                    <a:gd name="connsiteX147" fmla="*/ 215246 w 829105"/>
                    <a:gd name="connsiteY147" fmla="*/ 7856 h 914400"/>
                    <a:gd name="connsiteX148" fmla="*/ 215962 w 829105"/>
                    <a:gd name="connsiteY148" fmla="*/ 7856 h 914400"/>
                    <a:gd name="connsiteX149" fmla="*/ 217393 w 829105"/>
                    <a:gd name="connsiteY149" fmla="*/ 7142 h 914400"/>
                    <a:gd name="connsiteX150" fmla="*/ 217393 w 829105"/>
                    <a:gd name="connsiteY150" fmla="*/ 6428 h 914400"/>
                    <a:gd name="connsiteX151" fmla="*/ 218825 w 829105"/>
                    <a:gd name="connsiteY151" fmla="*/ 5714 h 914400"/>
                    <a:gd name="connsiteX152" fmla="*/ 220256 w 829105"/>
                    <a:gd name="connsiteY152" fmla="*/ 4999 h 914400"/>
                    <a:gd name="connsiteX153" fmla="*/ 221688 w 829105"/>
                    <a:gd name="connsiteY153" fmla="*/ 4285 h 914400"/>
                    <a:gd name="connsiteX154" fmla="*/ 223119 w 829105"/>
                    <a:gd name="connsiteY154" fmla="*/ 3571 h 914400"/>
                    <a:gd name="connsiteX155" fmla="*/ 224551 w 829105"/>
                    <a:gd name="connsiteY155" fmla="*/ 3571 h 914400"/>
                    <a:gd name="connsiteX156" fmla="*/ 225982 w 829105"/>
                    <a:gd name="connsiteY156" fmla="*/ 2857 h 914400"/>
                    <a:gd name="connsiteX157" fmla="*/ 227414 w 829105"/>
                    <a:gd name="connsiteY157" fmla="*/ 2143 h 914400"/>
                    <a:gd name="connsiteX158" fmla="*/ 228129 w 829105"/>
                    <a:gd name="connsiteY158" fmla="*/ 2143 h 914400"/>
                    <a:gd name="connsiteX159" fmla="*/ 230992 w 829105"/>
                    <a:gd name="connsiteY159" fmla="*/ 1428 h 914400"/>
                    <a:gd name="connsiteX160" fmla="*/ 231708 w 829105"/>
                    <a:gd name="connsiteY160" fmla="*/ 714 h 914400"/>
                    <a:gd name="connsiteX161" fmla="*/ 233140 w 829105"/>
                    <a:gd name="connsiteY161" fmla="*/ 714 h 914400"/>
                    <a:gd name="connsiteX162" fmla="*/ 235287 w 829105"/>
                    <a:gd name="connsiteY162" fmla="*/ 714 h 914400"/>
                    <a:gd name="connsiteX163" fmla="*/ 236718 w 829105"/>
                    <a:gd name="connsiteY163"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829105" h="914400">
                      <a:moveTo>
                        <a:pt x="595862" y="301625"/>
                      </a:moveTo>
                      <a:cubicBezTo>
                        <a:pt x="601568" y="301625"/>
                        <a:pt x="607988" y="303054"/>
                        <a:pt x="613694" y="306624"/>
                      </a:cubicBezTo>
                      <a:cubicBezTo>
                        <a:pt x="613694" y="306624"/>
                        <a:pt x="613694" y="306624"/>
                        <a:pt x="813413" y="432322"/>
                      </a:cubicBezTo>
                      <a:cubicBezTo>
                        <a:pt x="814126" y="432322"/>
                        <a:pt x="814126" y="432322"/>
                        <a:pt x="814126" y="432322"/>
                      </a:cubicBezTo>
                      <a:cubicBezTo>
                        <a:pt x="814840" y="433036"/>
                        <a:pt x="815553" y="433036"/>
                        <a:pt x="815553" y="433750"/>
                      </a:cubicBezTo>
                      <a:cubicBezTo>
                        <a:pt x="816266" y="433750"/>
                        <a:pt x="816979" y="434464"/>
                        <a:pt x="816979" y="434464"/>
                      </a:cubicBezTo>
                      <a:cubicBezTo>
                        <a:pt x="817693" y="435179"/>
                        <a:pt x="817693" y="435179"/>
                        <a:pt x="818406" y="435893"/>
                      </a:cubicBezTo>
                      <a:cubicBezTo>
                        <a:pt x="819119" y="435893"/>
                        <a:pt x="819119" y="436607"/>
                        <a:pt x="819833" y="436607"/>
                      </a:cubicBezTo>
                      <a:cubicBezTo>
                        <a:pt x="819833" y="437321"/>
                        <a:pt x="820546" y="438035"/>
                        <a:pt x="820546" y="438035"/>
                      </a:cubicBezTo>
                      <a:cubicBezTo>
                        <a:pt x="821259" y="438750"/>
                        <a:pt x="821259" y="438750"/>
                        <a:pt x="821972" y="439464"/>
                      </a:cubicBezTo>
                      <a:cubicBezTo>
                        <a:pt x="821972" y="439464"/>
                        <a:pt x="821972" y="440178"/>
                        <a:pt x="821972" y="440178"/>
                      </a:cubicBezTo>
                      <a:cubicBezTo>
                        <a:pt x="822686" y="440178"/>
                        <a:pt x="822686" y="440178"/>
                        <a:pt x="822686" y="440892"/>
                      </a:cubicBezTo>
                      <a:cubicBezTo>
                        <a:pt x="823399" y="440892"/>
                        <a:pt x="823399" y="441606"/>
                        <a:pt x="823399" y="442321"/>
                      </a:cubicBezTo>
                      <a:cubicBezTo>
                        <a:pt x="824112" y="442321"/>
                        <a:pt x="824112" y="442321"/>
                        <a:pt x="824112" y="442321"/>
                      </a:cubicBezTo>
                      <a:cubicBezTo>
                        <a:pt x="824112" y="443035"/>
                        <a:pt x="824112" y="443035"/>
                        <a:pt x="824826" y="443035"/>
                      </a:cubicBezTo>
                      <a:cubicBezTo>
                        <a:pt x="824826" y="443749"/>
                        <a:pt x="824826" y="444463"/>
                        <a:pt x="825539" y="444463"/>
                      </a:cubicBezTo>
                      <a:cubicBezTo>
                        <a:pt x="825539" y="445177"/>
                        <a:pt x="825539" y="445177"/>
                        <a:pt x="825539" y="445177"/>
                      </a:cubicBezTo>
                      <a:cubicBezTo>
                        <a:pt x="825539" y="445892"/>
                        <a:pt x="826252" y="445892"/>
                        <a:pt x="826252" y="445892"/>
                      </a:cubicBezTo>
                      <a:cubicBezTo>
                        <a:pt x="826252" y="446606"/>
                        <a:pt x="826252" y="447320"/>
                        <a:pt x="826965" y="447320"/>
                      </a:cubicBezTo>
                      <a:cubicBezTo>
                        <a:pt x="826965" y="448034"/>
                        <a:pt x="826965" y="448034"/>
                        <a:pt x="826965" y="448748"/>
                      </a:cubicBezTo>
                      <a:cubicBezTo>
                        <a:pt x="826965" y="448748"/>
                        <a:pt x="826965" y="448748"/>
                        <a:pt x="826965" y="449462"/>
                      </a:cubicBezTo>
                      <a:cubicBezTo>
                        <a:pt x="827679" y="449462"/>
                        <a:pt x="827679" y="450177"/>
                        <a:pt x="827679" y="450891"/>
                      </a:cubicBezTo>
                      <a:cubicBezTo>
                        <a:pt x="827679" y="450891"/>
                        <a:pt x="827679" y="451605"/>
                        <a:pt x="827679" y="451605"/>
                      </a:cubicBezTo>
                      <a:cubicBezTo>
                        <a:pt x="828392" y="451605"/>
                        <a:pt x="828392" y="451605"/>
                        <a:pt x="828392" y="451605"/>
                      </a:cubicBezTo>
                      <a:cubicBezTo>
                        <a:pt x="828392" y="452319"/>
                        <a:pt x="828392" y="452319"/>
                        <a:pt x="828392" y="452319"/>
                      </a:cubicBezTo>
                      <a:cubicBezTo>
                        <a:pt x="828392" y="453033"/>
                        <a:pt x="828392" y="453033"/>
                        <a:pt x="828392" y="453748"/>
                      </a:cubicBezTo>
                      <a:cubicBezTo>
                        <a:pt x="828392" y="454462"/>
                        <a:pt x="828392" y="454462"/>
                        <a:pt x="828392" y="455176"/>
                      </a:cubicBezTo>
                      <a:cubicBezTo>
                        <a:pt x="829105" y="455176"/>
                        <a:pt x="829105" y="455176"/>
                        <a:pt x="829105" y="455176"/>
                      </a:cubicBezTo>
                      <a:cubicBezTo>
                        <a:pt x="829105" y="455890"/>
                        <a:pt x="829105" y="456604"/>
                        <a:pt x="829105" y="457319"/>
                      </a:cubicBezTo>
                      <a:cubicBezTo>
                        <a:pt x="829105" y="457319"/>
                        <a:pt x="829105" y="458033"/>
                        <a:pt x="829105" y="458033"/>
                      </a:cubicBezTo>
                      <a:cubicBezTo>
                        <a:pt x="829105" y="458747"/>
                        <a:pt x="829105" y="458747"/>
                        <a:pt x="829105" y="458747"/>
                      </a:cubicBezTo>
                      <a:cubicBezTo>
                        <a:pt x="829105" y="459461"/>
                        <a:pt x="829105" y="459461"/>
                        <a:pt x="829105" y="460175"/>
                      </a:cubicBezTo>
                      <a:cubicBezTo>
                        <a:pt x="829105" y="460889"/>
                        <a:pt x="829105" y="460889"/>
                        <a:pt x="829105" y="461604"/>
                      </a:cubicBezTo>
                      <a:cubicBezTo>
                        <a:pt x="829105" y="461604"/>
                        <a:pt x="829105" y="461604"/>
                        <a:pt x="829105" y="462318"/>
                      </a:cubicBezTo>
                      <a:cubicBezTo>
                        <a:pt x="829105" y="462318"/>
                        <a:pt x="829105" y="463032"/>
                        <a:pt x="829105" y="463746"/>
                      </a:cubicBezTo>
                      <a:cubicBezTo>
                        <a:pt x="829105" y="463746"/>
                        <a:pt x="829105" y="464460"/>
                        <a:pt x="829105" y="464460"/>
                      </a:cubicBezTo>
                      <a:cubicBezTo>
                        <a:pt x="829105" y="465175"/>
                        <a:pt x="829105" y="465175"/>
                        <a:pt x="829105" y="465175"/>
                      </a:cubicBezTo>
                      <a:cubicBezTo>
                        <a:pt x="829105" y="465889"/>
                        <a:pt x="828392" y="465889"/>
                        <a:pt x="828392" y="466603"/>
                      </a:cubicBezTo>
                      <a:cubicBezTo>
                        <a:pt x="828392" y="467317"/>
                        <a:pt x="828392" y="467317"/>
                        <a:pt x="828392" y="468031"/>
                      </a:cubicBezTo>
                      <a:cubicBezTo>
                        <a:pt x="828392" y="468031"/>
                        <a:pt x="828392" y="468031"/>
                        <a:pt x="828392" y="468746"/>
                      </a:cubicBezTo>
                      <a:cubicBezTo>
                        <a:pt x="828392" y="468746"/>
                        <a:pt x="827679" y="469460"/>
                        <a:pt x="827679" y="470174"/>
                      </a:cubicBezTo>
                      <a:cubicBezTo>
                        <a:pt x="827679" y="470174"/>
                        <a:pt x="827679" y="470888"/>
                        <a:pt x="827679" y="470888"/>
                      </a:cubicBezTo>
                      <a:cubicBezTo>
                        <a:pt x="827679" y="471602"/>
                        <a:pt x="826965" y="471602"/>
                        <a:pt x="826965" y="471602"/>
                      </a:cubicBezTo>
                      <a:cubicBezTo>
                        <a:pt x="826965" y="472317"/>
                        <a:pt x="826965" y="472317"/>
                        <a:pt x="826965" y="473031"/>
                      </a:cubicBezTo>
                      <a:cubicBezTo>
                        <a:pt x="826252" y="473745"/>
                        <a:pt x="826252" y="473745"/>
                        <a:pt x="826252" y="474459"/>
                      </a:cubicBezTo>
                      <a:cubicBezTo>
                        <a:pt x="825539" y="475173"/>
                        <a:pt x="825539" y="475887"/>
                        <a:pt x="825539" y="475887"/>
                      </a:cubicBezTo>
                      <a:cubicBezTo>
                        <a:pt x="824826" y="476602"/>
                        <a:pt x="824826" y="476602"/>
                        <a:pt x="824826" y="477316"/>
                      </a:cubicBezTo>
                      <a:cubicBezTo>
                        <a:pt x="824826" y="477316"/>
                        <a:pt x="824826" y="477316"/>
                        <a:pt x="707847" y="682288"/>
                      </a:cubicBezTo>
                      <a:cubicBezTo>
                        <a:pt x="701428" y="693001"/>
                        <a:pt x="690015" y="698715"/>
                        <a:pt x="678603" y="698715"/>
                      </a:cubicBezTo>
                      <a:cubicBezTo>
                        <a:pt x="672896" y="698715"/>
                        <a:pt x="667190" y="697286"/>
                        <a:pt x="662197" y="694430"/>
                      </a:cubicBezTo>
                      <a:cubicBezTo>
                        <a:pt x="646505" y="685145"/>
                        <a:pt x="640799" y="665148"/>
                        <a:pt x="650071" y="648721"/>
                      </a:cubicBezTo>
                      <a:cubicBezTo>
                        <a:pt x="650071" y="648721"/>
                        <a:pt x="650071" y="648721"/>
                        <a:pt x="730672" y="508026"/>
                      </a:cubicBezTo>
                      <a:cubicBezTo>
                        <a:pt x="543792" y="553020"/>
                        <a:pt x="349779" y="661577"/>
                        <a:pt x="292717" y="914400"/>
                      </a:cubicBezTo>
                      <a:cubicBezTo>
                        <a:pt x="291290" y="909401"/>
                        <a:pt x="290577" y="904401"/>
                        <a:pt x="289150" y="898688"/>
                      </a:cubicBezTo>
                      <a:cubicBezTo>
                        <a:pt x="284870" y="877976"/>
                        <a:pt x="279164" y="857979"/>
                        <a:pt x="273458" y="838696"/>
                      </a:cubicBezTo>
                      <a:cubicBezTo>
                        <a:pt x="269178" y="824412"/>
                        <a:pt x="264185" y="810843"/>
                        <a:pt x="259192" y="797273"/>
                      </a:cubicBezTo>
                      <a:cubicBezTo>
                        <a:pt x="263472" y="786560"/>
                        <a:pt x="268465" y="775847"/>
                        <a:pt x="273458" y="765134"/>
                      </a:cubicBezTo>
                      <a:cubicBezTo>
                        <a:pt x="278451" y="755136"/>
                        <a:pt x="283444" y="745137"/>
                        <a:pt x="289150" y="735138"/>
                      </a:cubicBezTo>
                      <a:cubicBezTo>
                        <a:pt x="312688" y="693001"/>
                        <a:pt x="341933" y="655149"/>
                        <a:pt x="376171" y="620868"/>
                      </a:cubicBezTo>
                      <a:cubicBezTo>
                        <a:pt x="458198" y="537308"/>
                        <a:pt x="569470" y="478744"/>
                        <a:pt x="707134" y="444463"/>
                      </a:cubicBezTo>
                      <a:cubicBezTo>
                        <a:pt x="707134" y="444463"/>
                        <a:pt x="707134" y="444463"/>
                        <a:pt x="578030" y="363760"/>
                      </a:cubicBezTo>
                      <a:cubicBezTo>
                        <a:pt x="562337" y="353761"/>
                        <a:pt x="558058" y="333049"/>
                        <a:pt x="567330" y="317337"/>
                      </a:cubicBezTo>
                      <a:cubicBezTo>
                        <a:pt x="573750" y="307339"/>
                        <a:pt x="584449" y="301625"/>
                        <a:pt x="595862" y="301625"/>
                      </a:cubicBezTo>
                      <a:close/>
                      <a:moveTo>
                        <a:pt x="236718" y="0"/>
                      </a:moveTo>
                      <a:cubicBezTo>
                        <a:pt x="236718" y="0"/>
                        <a:pt x="236718" y="0"/>
                        <a:pt x="237434" y="0"/>
                      </a:cubicBezTo>
                      <a:cubicBezTo>
                        <a:pt x="238150" y="0"/>
                        <a:pt x="238866" y="0"/>
                        <a:pt x="239582" y="0"/>
                      </a:cubicBezTo>
                      <a:cubicBezTo>
                        <a:pt x="240297" y="0"/>
                        <a:pt x="240297" y="0"/>
                        <a:pt x="241013" y="0"/>
                      </a:cubicBezTo>
                      <a:cubicBezTo>
                        <a:pt x="241729" y="0"/>
                        <a:pt x="242445" y="0"/>
                        <a:pt x="242445" y="0"/>
                      </a:cubicBezTo>
                      <a:cubicBezTo>
                        <a:pt x="243160" y="0"/>
                        <a:pt x="243160" y="0"/>
                        <a:pt x="243876" y="0"/>
                      </a:cubicBezTo>
                      <a:cubicBezTo>
                        <a:pt x="244592" y="0"/>
                        <a:pt x="245308" y="0"/>
                        <a:pt x="246023" y="0"/>
                      </a:cubicBezTo>
                      <a:cubicBezTo>
                        <a:pt x="246023" y="0"/>
                        <a:pt x="246739" y="0"/>
                        <a:pt x="246739" y="0"/>
                      </a:cubicBezTo>
                      <a:cubicBezTo>
                        <a:pt x="247455" y="0"/>
                        <a:pt x="247455" y="714"/>
                        <a:pt x="248171" y="714"/>
                      </a:cubicBezTo>
                      <a:cubicBezTo>
                        <a:pt x="248886" y="714"/>
                        <a:pt x="249602" y="714"/>
                        <a:pt x="250318" y="714"/>
                      </a:cubicBezTo>
                      <a:cubicBezTo>
                        <a:pt x="251034" y="714"/>
                        <a:pt x="251034" y="714"/>
                        <a:pt x="251749" y="1428"/>
                      </a:cubicBezTo>
                      <a:cubicBezTo>
                        <a:pt x="251749" y="1428"/>
                        <a:pt x="252465" y="1428"/>
                        <a:pt x="253181" y="1428"/>
                      </a:cubicBezTo>
                      <a:cubicBezTo>
                        <a:pt x="253181" y="1428"/>
                        <a:pt x="254612" y="1428"/>
                        <a:pt x="255328" y="2143"/>
                      </a:cubicBezTo>
                      <a:cubicBezTo>
                        <a:pt x="255328" y="2143"/>
                        <a:pt x="255328" y="2143"/>
                        <a:pt x="256044" y="2143"/>
                      </a:cubicBezTo>
                      <a:cubicBezTo>
                        <a:pt x="256760" y="2143"/>
                        <a:pt x="256760" y="2143"/>
                        <a:pt x="257475" y="2857"/>
                      </a:cubicBezTo>
                      <a:cubicBezTo>
                        <a:pt x="258191" y="2857"/>
                        <a:pt x="258907" y="2857"/>
                        <a:pt x="259623" y="3571"/>
                      </a:cubicBezTo>
                      <a:cubicBezTo>
                        <a:pt x="259623" y="3571"/>
                        <a:pt x="259623" y="3571"/>
                        <a:pt x="260339" y="3571"/>
                      </a:cubicBezTo>
                      <a:cubicBezTo>
                        <a:pt x="261055" y="4285"/>
                        <a:pt x="261055" y="4285"/>
                        <a:pt x="261770" y="4285"/>
                      </a:cubicBezTo>
                      <a:cubicBezTo>
                        <a:pt x="262486" y="4999"/>
                        <a:pt x="262486" y="4999"/>
                        <a:pt x="263202" y="4999"/>
                      </a:cubicBezTo>
                      <a:cubicBezTo>
                        <a:pt x="263918" y="5714"/>
                        <a:pt x="263918" y="5714"/>
                        <a:pt x="264633" y="5714"/>
                      </a:cubicBezTo>
                      <a:cubicBezTo>
                        <a:pt x="264633" y="5714"/>
                        <a:pt x="265349" y="6428"/>
                        <a:pt x="266065" y="6428"/>
                      </a:cubicBezTo>
                      <a:cubicBezTo>
                        <a:pt x="266065" y="6428"/>
                        <a:pt x="266065" y="6428"/>
                        <a:pt x="266065" y="7142"/>
                      </a:cubicBezTo>
                      <a:cubicBezTo>
                        <a:pt x="266781" y="7142"/>
                        <a:pt x="266781" y="7142"/>
                        <a:pt x="267496" y="7856"/>
                      </a:cubicBezTo>
                      <a:cubicBezTo>
                        <a:pt x="267496" y="7856"/>
                        <a:pt x="268212" y="7856"/>
                        <a:pt x="268212" y="7856"/>
                      </a:cubicBezTo>
                      <a:cubicBezTo>
                        <a:pt x="268928" y="8571"/>
                        <a:pt x="268928" y="8571"/>
                        <a:pt x="269644" y="9285"/>
                      </a:cubicBezTo>
                      <a:cubicBezTo>
                        <a:pt x="270359" y="9285"/>
                        <a:pt x="270359" y="9999"/>
                        <a:pt x="271075" y="9999"/>
                      </a:cubicBezTo>
                      <a:cubicBezTo>
                        <a:pt x="271075" y="9999"/>
                        <a:pt x="271075" y="9999"/>
                        <a:pt x="465759" y="164270"/>
                      </a:cubicBezTo>
                      <a:cubicBezTo>
                        <a:pt x="485800" y="179983"/>
                        <a:pt x="489379" y="209980"/>
                        <a:pt x="473633" y="229978"/>
                      </a:cubicBezTo>
                      <a:cubicBezTo>
                        <a:pt x="464328" y="241406"/>
                        <a:pt x="450729" y="247834"/>
                        <a:pt x="436414" y="247834"/>
                      </a:cubicBezTo>
                      <a:cubicBezTo>
                        <a:pt x="425677" y="247834"/>
                        <a:pt x="415657" y="244263"/>
                        <a:pt x="407068" y="237835"/>
                      </a:cubicBezTo>
                      <a:cubicBezTo>
                        <a:pt x="407068" y="237835"/>
                        <a:pt x="407068" y="237835"/>
                        <a:pt x="288969" y="144272"/>
                      </a:cubicBezTo>
                      <a:cubicBezTo>
                        <a:pt x="288969" y="144272"/>
                        <a:pt x="288969" y="144272"/>
                        <a:pt x="288969" y="675651"/>
                      </a:cubicBezTo>
                      <a:cubicBezTo>
                        <a:pt x="283243" y="683508"/>
                        <a:pt x="278233" y="692078"/>
                        <a:pt x="273222" y="699935"/>
                      </a:cubicBezTo>
                      <a:cubicBezTo>
                        <a:pt x="267496" y="708505"/>
                        <a:pt x="262486" y="717790"/>
                        <a:pt x="257475" y="727075"/>
                      </a:cubicBezTo>
                      <a:cubicBezTo>
                        <a:pt x="257475" y="727075"/>
                        <a:pt x="257475" y="727075"/>
                        <a:pt x="257475" y="112132"/>
                      </a:cubicBezTo>
                      <a:cubicBezTo>
                        <a:pt x="257475" y="106419"/>
                        <a:pt x="261055" y="100705"/>
                        <a:pt x="266065" y="97848"/>
                      </a:cubicBezTo>
                      <a:cubicBezTo>
                        <a:pt x="271791" y="94991"/>
                        <a:pt x="278233" y="95705"/>
                        <a:pt x="283243" y="99991"/>
                      </a:cubicBezTo>
                      <a:cubicBezTo>
                        <a:pt x="283243" y="99991"/>
                        <a:pt x="283243" y="99991"/>
                        <a:pt x="426393" y="213551"/>
                      </a:cubicBezTo>
                      <a:cubicBezTo>
                        <a:pt x="429972" y="215694"/>
                        <a:pt x="433551" y="216408"/>
                        <a:pt x="436414" y="216408"/>
                      </a:cubicBezTo>
                      <a:cubicBezTo>
                        <a:pt x="441424" y="216408"/>
                        <a:pt x="445718" y="214266"/>
                        <a:pt x="448581" y="210694"/>
                      </a:cubicBezTo>
                      <a:cubicBezTo>
                        <a:pt x="454307" y="203552"/>
                        <a:pt x="452876" y="194267"/>
                        <a:pt x="446434" y="188554"/>
                      </a:cubicBezTo>
                      <a:cubicBezTo>
                        <a:pt x="446434" y="188554"/>
                        <a:pt x="446434" y="188554"/>
                        <a:pt x="251749" y="34997"/>
                      </a:cubicBezTo>
                      <a:cubicBezTo>
                        <a:pt x="251749" y="34997"/>
                        <a:pt x="251034" y="34997"/>
                        <a:pt x="251034" y="34282"/>
                      </a:cubicBezTo>
                      <a:cubicBezTo>
                        <a:pt x="251034" y="34282"/>
                        <a:pt x="251034" y="34282"/>
                        <a:pt x="250318" y="34282"/>
                      </a:cubicBezTo>
                      <a:cubicBezTo>
                        <a:pt x="250318" y="34282"/>
                        <a:pt x="250318" y="34282"/>
                        <a:pt x="250318" y="33568"/>
                      </a:cubicBezTo>
                      <a:cubicBezTo>
                        <a:pt x="250318" y="33568"/>
                        <a:pt x="249602" y="33568"/>
                        <a:pt x="249602" y="33568"/>
                      </a:cubicBezTo>
                      <a:cubicBezTo>
                        <a:pt x="248886" y="33568"/>
                        <a:pt x="248886" y="33568"/>
                        <a:pt x="248886" y="32854"/>
                      </a:cubicBezTo>
                      <a:cubicBezTo>
                        <a:pt x="248886" y="32854"/>
                        <a:pt x="248886" y="32854"/>
                        <a:pt x="248171" y="32854"/>
                      </a:cubicBezTo>
                      <a:cubicBezTo>
                        <a:pt x="247455" y="32854"/>
                        <a:pt x="247455" y="32854"/>
                        <a:pt x="247455" y="32854"/>
                      </a:cubicBezTo>
                      <a:cubicBezTo>
                        <a:pt x="247455" y="32854"/>
                        <a:pt x="247455" y="32140"/>
                        <a:pt x="246739" y="32140"/>
                      </a:cubicBezTo>
                      <a:cubicBezTo>
                        <a:pt x="246739" y="32140"/>
                        <a:pt x="246739" y="32140"/>
                        <a:pt x="246023" y="32140"/>
                      </a:cubicBezTo>
                      <a:cubicBezTo>
                        <a:pt x="246023" y="32140"/>
                        <a:pt x="246023" y="32140"/>
                        <a:pt x="245308" y="32140"/>
                      </a:cubicBezTo>
                      <a:cubicBezTo>
                        <a:pt x="245308" y="32140"/>
                        <a:pt x="245308" y="32140"/>
                        <a:pt x="244592" y="31426"/>
                      </a:cubicBezTo>
                      <a:cubicBezTo>
                        <a:pt x="244592" y="31426"/>
                        <a:pt x="243876" y="31426"/>
                        <a:pt x="243876" y="31426"/>
                      </a:cubicBezTo>
                      <a:cubicBezTo>
                        <a:pt x="243876" y="31426"/>
                        <a:pt x="243876" y="31426"/>
                        <a:pt x="241729" y="31426"/>
                      </a:cubicBezTo>
                      <a:cubicBezTo>
                        <a:pt x="241729" y="31426"/>
                        <a:pt x="241729" y="31426"/>
                        <a:pt x="240297" y="31426"/>
                      </a:cubicBezTo>
                      <a:cubicBezTo>
                        <a:pt x="240297" y="31426"/>
                        <a:pt x="240297" y="31426"/>
                        <a:pt x="238150" y="32140"/>
                      </a:cubicBezTo>
                      <a:cubicBezTo>
                        <a:pt x="237434" y="32140"/>
                        <a:pt x="237434" y="32140"/>
                        <a:pt x="237434" y="32140"/>
                      </a:cubicBezTo>
                      <a:cubicBezTo>
                        <a:pt x="237434" y="32140"/>
                        <a:pt x="237434" y="32140"/>
                        <a:pt x="236718" y="32140"/>
                      </a:cubicBezTo>
                      <a:cubicBezTo>
                        <a:pt x="236003" y="32140"/>
                        <a:pt x="236003" y="32140"/>
                        <a:pt x="236003" y="32854"/>
                      </a:cubicBezTo>
                      <a:cubicBezTo>
                        <a:pt x="236003" y="32854"/>
                        <a:pt x="236003" y="32854"/>
                        <a:pt x="235287" y="32854"/>
                      </a:cubicBezTo>
                      <a:cubicBezTo>
                        <a:pt x="235287" y="32854"/>
                        <a:pt x="235287" y="32854"/>
                        <a:pt x="234571" y="32854"/>
                      </a:cubicBezTo>
                      <a:cubicBezTo>
                        <a:pt x="234571" y="33568"/>
                        <a:pt x="234571" y="33568"/>
                        <a:pt x="233855" y="33568"/>
                      </a:cubicBezTo>
                      <a:cubicBezTo>
                        <a:pt x="233855" y="33568"/>
                        <a:pt x="233855" y="33568"/>
                        <a:pt x="233140" y="34282"/>
                      </a:cubicBezTo>
                      <a:cubicBezTo>
                        <a:pt x="233140" y="34282"/>
                        <a:pt x="233140" y="34282"/>
                        <a:pt x="232424" y="34282"/>
                      </a:cubicBezTo>
                      <a:cubicBezTo>
                        <a:pt x="232424" y="34997"/>
                        <a:pt x="231708" y="34997"/>
                        <a:pt x="231708" y="34997"/>
                      </a:cubicBezTo>
                      <a:cubicBezTo>
                        <a:pt x="231708" y="34997"/>
                        <a:pt x="231708" y="34997"/>
                        <a:pt x="37024" y="188554"/>
                      </a:cubicBezTo>
                      <a:cubicBezTo>
                        <a:pt x="30582" y="194267"/>
                        <a:pt x="29151" y="203552"/>
                        <a:pt x="34877" y="210694"/>
                      </a:cubicBezTo>
                      <a:cubicBezTo>
                        <a:pt x="37740" y="214266"/>
                        <a:pt x="42034" y="216408"/>
                        <a:pt x="47044" y="216408"/>
                      </a:cubicBezTo>
                      <a:cubicBezTo>
                        <a:pt x="49907" y="216408"/>
                        <a:pt x="53486" y="215694"/>
                        <a:pt x="57065" y="213551"/>
                      </a:cubicBezTo>
                      <a:cubicBezTo>
                        <a:pt x="57065" y="213551"/>
                        <a:pt x="57065" y="213551"/>
                        <a:pt x="200215" y="99991"/>
                      </a:cubicBezTo>
                      <a:cubicBezTo>
                        <a:pt x="203078" y="97848"/>
                        <a:pt x="206657" y="96419"/>
                        <a:pt x="210236" y="96419"/>
                      </a:cubicBezTo>
                      <a:cubicBezTo>
                        <a:pt x="212383" y="96419"/>
                        <a:pt x="215246" y="97134"/>
                        <a:pt x="217393" y="97848"/>
                      </a:cubicBezTo>
                      <a:cubicBezTo>
                        <a:pt x="222403" y="100705"/>
                        <a:pt x="225982" y="106419"/>
                        <a:pt x="225982" y="112132"/>
                      </a:cubicBezTo>
                      <a:cubicBezTo>
                        <a:pt x="225982" y="112132"/>
                        <a:pt x="225982" y="112132"/>
                        <a:pt x="225982" y="727075"/>
                      </a:cubicBezTo>
                      <a:cubicBezTo>
                        <a:pt x="220972" y="717790"/>
                        <a:pt x="215962" y="708505"/>
                        <a:pt x="210236" y="699935"/>
                      </a:cubicBezTo>
                      <a:cubicBezTo>
                        <a:pt x="205225" y="692078"/>
                        <a:pt x="200215" y="683508"/>
                        <a:pt x="194489" y="675651"/>
                      </a:cubicBezTo>
                      <a:cubicBezTo>
                        <a:pt x="194489" y="675651"/>
                        <a:pt x="194489" y="675651"/>
                        <a:pt x="194489" y="144272"/>
                      </a:cubicBezTo>
                      <a:cubicBezTo>
                        <a:pt x="194489" y="144272"/>
                        <a:pt x="194489" y="144272"/>
                        <a:pt x="76390" y="237835"/>
                      </a:cubicBezTo>
                      <a:cubicBezTo>
                        <a:pt x="67801" y="244263"/>
                        <a:pt x="57781" y="247834"/>
                        <a:pt x="47044" y="247834"/>
                      </a:cubicBezTo>
                      <a:cubicBezTo>
                        <a:pt x="32729" y="247834"/>
                        <a:pt x="19130" y="241406"/>
                        <a:pt x="9825" y="229978"/>
                      </a:cubicBezTo>
                      <a:cubicBezTo>
                        <a:pt x="-5921" y="209980"/>
                        <a:pt x="-2342" y="179983"/>
                        <a:pt x="17699" y="164270"/>
                      </a:cubicBezTo>
                      <a:cubicBezTo>
                        <a:pt x="17699" y="164270"/>
                        <a:pt x="17699" y="164270"/>
                        <a:pt x="212383" y="9999"/>
                      </a:cubicBezTo>
                      <a:cubicBezTo>
                        <a:pt x="213099" y="9999"/>
                        <a:pt x="213099" y="9285"/>
                        <a:pt x="213814" y="9285"/>
                      </a:cubicBezTo>
                      <a:cubicBezTo>
                        <a:pt x="214530" y="8571"/>
                        <a:pt x="214530" y="8571"/>
                        <a:pt x="215246" y="7856"/>
                      </a:cubicBezTo>
                      <a:cubicBezTo>
                        <a:pt x="215246" y="7856"/>
                        <a:pt x="215962" y="7856"/>
                        <a:pt x="215962" y="7856"/>
                      </a:cubicBezTo>
                      <a:cubicBezTo>
                        <a:pt x="216677" y="7142"/>
                        <a:pt x="216677" y="7142"/>
                        <a:pt x="217393" y="7142"/>
                      </a:cubicBezTo>
                      <a:cubicBezTo>
                        <a:pt x="217393" y="7142"/>
                        <a:pt x="217393" y="7142"/>
                        <a:pt x="217393" y="6428"/>
                      </a:cubicBezTo>
                      <a:cubicBezTo>
                        <a:pt x="218109" y="6428"/>
                        <a:pt x="218825" y="5714"/>
                        <a:pt x="218825" y="5714"/>
                      </a:cubicBezTo>
                      <a:cubicBezTo>
                        <a:pt x="219540" y="5714"/>
                        <a:pt x="219540" y="5714"/>
                        <a:pt x="220256" y="4999"/>
                      </a:cubicBezTo>
                      <a:cubicBezTo>
                        <a:pt x="220256" y="4999"/>
                        <a:pt x="220972" y="4999"/>
                        <a:pt x="221688" y="4285"/>
                      </a:cubicBezTo>
                      <a:cubicBezTo>
                        <a:pt x="222403" y="4285"/>
                        <a:pt x="222403" y="4285"/>
                        <a:pt x="223119" y="3571"/>
                      </a:cubicBezTo>
                      <a:cubicBezTo>
                        <a:pt x="223835" y="3571"/>
                        <a:pt x="223835" y="3571"/>
                        <a:pt x="224551" y="3571"/>
                      </a:cubicBezTo>
                      <a:cubicBezTo>
                        <a:pt x="225266" y="2857"/>
                        <a:pt x="225266" y="2857"/>
                        <a:pt x="225982" y="2857"/>
                      </a:cubicBezTo>
                      <a:cubicBezTo>
                        <a:pt x="226698" y="2857"/>
                        <a:pt x="226698" y="2143"/>
                        <a:pt x="227414" y="2143"/>
                      </a:cubicBezTo>
                      <a:cubicBezTo>
                        <a:pt x="228129" y="2143"/>
                        <a:pt x="228129" y="2143"/>
                        <a:pt x="228129" y="2143"/>
                      </a:cubicBezTo>
                      <a:cubicBezTo>
                        <a:pt x="228845" y="1428"/>
                        <a:pt x="230277" y="1428"/>
                        <a:pt x="230992" y="1428"/>
                      </a:cubicBezTo>
                      <a:cubicBezTo>
                        <a:pt x="230992" y="1428"/>
                        <a:pt x="231708" y="1428"/>
                        <a:pt x="231708" y="714"/>
                      </a:cubicBezTo>
                      <a:cubicBezTo>
                        <a:pt x="232424" y="714"/>
                        <a:pt x="232424" y="714"/>
                        <a:pt x="233140" y="714"/>
                      </a:cubicBezTo>
                      <a:cubicBezTo>
                        <a:pt x="233855" y="714"/>
                        <a:pt x="234571" y="714"/>
                        <a:pt x="235287" y="714"/>
                      </a:cubicBezTo>
                      <a:cubicBezTo>
                        <a:pt x="236003" y="714"/>
                        <a:pt x="236003" y="0"/>
                        <a:pt x="2367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6" name="Freeform 95"/>
                <p:cNvSpPr>
                  <a:spLocks/>
                </p:cNvSpPr>
                <p:nvPr/>
              </p:nvSpPr>
              <p:spPr bwMode="auto">
                <a:xfrm>
                  <a:off x="5508625" y="3076575"/>
                  <a:ext cx="620713" cy="806450"/>
                </a:xfrm>
                <a:custGeom>
                  <a:avLst/>
                  <a:gdLst>
                    <a:gd name="T0" fmla="*/ 845 w 870"/>
                    <a:gd name="T1" fmla="*/ 841 h 1130"/>
                    <a:gd name="T2" fmla="*/ 811 w 870"/>
                    <a:gd name="T3" fmla="*/ 725 h 1130"/>
                    <a:gd name="T4" fmla="*/ 799 w 870"/>
                    <a:gd name="T5" fmla="*/ 694 h 1130"/>
                    <a:gd name="T6" fmla="*/ 757 w 870"/>
                    <a:gd name="T7" fmla="*/ 607 h 1130"/>
                    <a:gd name="T8" fmla="*/ 171 w 870"/>
                    <a:gd name="T9" fmla="*/ 200 h 1130"/>
                    <a:gd name="T10" fmla="*/ 367 w 870"/>
                    <a:gd name="T11" fmla="*/ 22 h 1130"/>
                    <a:gd name="T12" fmla="*/ 302 w 870"/>
                    <a:gd name="T13" fmla="*/ 7 h 1130"/>
                    <a:gd name="T14" fmla="*/ 21 w 870"/>
                    <a:gd name="T15" fmla="*/ 183 h 1130"/>
                    <a:gd name="T16" fmla="*/ 19 w 870"/>
                    <a:gd name="T17" fmla="*/ 185 h 1130"/>
                    <a:gd name="T18" fmla="*/ 15 w 870"/>
                    <a:gd name="T19" fmla="*/ 188 h 1130"/>
                    <a:gd name="T20" fmla="*/ 13 w 870"/>
                    <a:gd name="T21" fmla="*/ 190 h 1130"/>
                    <a:gd name="T22" fmla="*/ 12 w 870"/>
                    <a:gd name="T23" fmla="*/ 191 h 1130"/>
                    <a:gd name="T24" fmla="*/ 10 w 870"/>
                    <a:gd name="T25" fmla="*/ 194 h 1130"/>
                    <a:gd name="T26" fmla="*/ 8 w 870"/>
                    <a:gd name="T27" fmla="*/ 196 h 1130"/>
                    <a:gd name="T28" fmla="*/ 6 w 870"/>
                    <a:gd name="T29" fmla="*/ 198 h 1130"/>
                    <a:gd name="T30" fmla="*/ 5 w 870"/>
                    <a:gd name="T31" fmla="*/ 202 h 1130"/>
                    <a:gd name="T32" fmla="*/ 3 w 870"/>
                    <a:gd name="T33" fmla="*/ 204 h 1130"/>
                    <a:gd name="T34" fmla="*/ 3 w 870"/>
                    <a:gd name="T35" fmla="*/ 207 h 1130"/>
                    <a:gd name="T36" fmla="*/ 2 w 870"/>
                    <a:gd name="T37" fmla="*/ 210 h 1130"/>
                    <a:gd name="T38" fmla="*/ 1 w 870"/>
                    <a:gd name="T39" fmla="*/ 211 h 1130"/>
                    <a:gd name="T40" fmla="*/ 1 w 870"/>
                    <a:gd name="T41" fmla="*/ 215 h 1130"/>
                    <a:gd name="T42" fmla="*/ 0 w 870"/>
                    <a:gd name="T43" fmla="*/ 215 h 1130"/>
                    <a:gd name="T44" fmla="*/ 0 w 870"/>
                    <a:gd name="T45" fmla="*/ 219 h 1130"/>
                    <a:gd name="T46" fmla="*/ 0 w 870"/>
                    <a:gd name="T47" fmla="*/ 222 h 1130"/>
                    <a:gd name="T48" fmla="*/ 0 w 870"/>
                    <a:gd name="T49" fmla="*/ 225 h 1130"/>
                    <a:gd name="T50" fmla="*/ 0 w 870"/>
                    <a:gd name="T51" fmla="*/ 228 h 1130"/>
                    <a:gd name="T52" fmla="*/ 1 w 870"/>
                    <a:gd name="T53" fmla="*/ 231 h 1130"/>
                    <a:gd name="T54" fmla="*/ 1 w 870"/>
                    <a:gd name="T55" fmla="*/ 234 h 1130"/>
                    <a:gd name="T56" fmla="*/ 2 w 870"/>
                    <a:gd name="T57" fmla="*/ 237 h 1130"/>
                    <a:gd name="T58" fmla="*/ 3 w 870"/>
                    <a:gd name="T59" fmla="*/ 240 h 1130"/>
                    <a:gd name="T60" fmla="*/ 4 w 870"/>
                    <a:gd name="T61" fmla="*/ 242 h 1130"/>
                    <a:gd name="T62" fmla="*/ 6 w 870"/>
                    <a:gd name="T63" fmla="*/ 246 h 1130"/>
                    <a:gd name="T64" fmla="*/ 211 w 870"/>
                    <a:gd name="T65" fmla="*/ 556 h 1130"/>
                    <a:gd name="T66" fmla="*/ 251 w 870"/>
                    <a:gd name="T67" fmla="*/ 486 h 1130"/>
                    <a:gd name="T68" fmla="*/ 752 w 870"/>
                    <a:gd name="T69" fmla="*/ 858 h 1130"/>
                    <a:gd name="T70" fmla="*/ 765 w 870"/>
                    <a:gd name="T71" fmla="*/ 922 h 1130"/>
                    <a:gd name="T72" fmla="*/ 819 w 870"/>
                    <a:gd name="T73" fmla="*/ 1130 h 1130"/>
                    <a:gd name="T74" fmla="*/ 827 w 870"/>
                    <a:gd name="T75" fmla="*/ 1130 h 1130"/>
                    <a:gd name="T76" fmla="*/ 867 w 870"/>
                    <a:gd name="T77" fmla="*/ 999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0" h="1130">
                      <a:moveTo>
                        <a:pt x="867" y="999"/>
                      </a:moveTo>
                      <a:cubicBezTo>
                        <a:pt x="863" y="944"/>
                        <a:pt x="856" y="891"/>
                        <a:pt x="845" y="841"/>
                      </a:cubicBezTo>
                      <a:cubicBezTo>
                        <a:pt x="839" y="813"/>
                        <a:pt x="831" y="786"/>
                        <a:pt x="823" y="759"/>
                      </a:cubicBezTo>
                      <a:cubicBezTo>
                        <a:pt x="819" y="748"/>
                        <a:pt x="815" y="736"/>
                        <a:pt x="811" y="725"/>
                      </a:cubicBezTo>
                      <a:cubicBezTo>
                        <a:pt x="808" y="716"/>
                        <a:pt x="805" y="707"/>
                        <a:pt x="801" y="698"/>
                      </a:cubicBezTo>
                      <a:cubicBezTo>
                        <a:pt x="800" y="697"/>
                        <a:pt x="800" y="696"/>
                        <a:pt x="799" y="694"/>
                      </a:cubicBezTo>
                      <a:cubicBezTo>
                        <a:pt x="793" y="679"/>
                        <a:pt x="786" y="664"/>
                        <a:pt x="779" y="649"/>
                      </a:cubicBezTo>
                      <a:cubicBezTo>
                        <a:pt x="772" y="635"/>
                        <a:pt x="765" y="621"/>
                        <a:pt x="757" y="607"/>
                      </a:cubicBezTo>
                      <a:cubicBezTo>
                        <a:pt x="724" y="548"/>
                        <a:pt x="683" y="495"/>
                        <a:pt x="635" y="447"/>
                      </a:cubicBezTo>
                      <a:cubicBezTo>
                        <a:pt x="520" y="330"/>
                        <a:pt x="364" y="248"/>
                        <a:pt x="171" y="200"/>
                      </a:cubicBezTo>
                      <a:cubicBezTo>
                        <a:pt x="352" y="87"/>
                        <a:pt x="352" y="87"/>
                        <a:pt x="352" y="87"/>
                      </a:cubicBezTo>
                      <a:cubicBezTo>
                        <a:pt x="374" y="73"/>
                        <a:pt x="380" y="44"/>
                        <a:pt x="367" y="22"/>
                      </a:cubicBezTo>
                      <a:cubicBezTo>
                        <a:pt x="358" y="8"/>
                        <a:pt x="343" y="0"/>
                        <a:pt x="327" y="0"/>
                      </a:cubicBezTo>
                      <a:cubicBezTo>
                        <a:pt x="319" y="0"/>
                        <a:pt x="310" y="2"/>
                        <a:pt x="302" y="7"/>
                      </a:cubicBezTo>
                      <a:cubicBezTo>
                        <a:pt x="22" y="183"/>
                        <a:pt x="22" y="183"/>
                        <a:pt x="22" y="183"/>
                      </a:cubicBezTo>
                      <a:cubicBezTo>
                        <a:pt x="21" y="183"/>
                        <a:pt x="21" y="183"/>
                        <a:pt x="21" y="183"/>
                      </a:cubicBezTo>
                      <a:cubicBezTo>
                        <a:pt x="21" y="183"/>
                        <a:pt x="21" y="183"/>
                        <a:pt x="21" y="184"/>
                      </a:cubicBezTo>
                      <a:cubicBezTo>
                        <a:pt x="20" y="184"/>
                        <a:pt x="19" y="184"/>
                        <a:pt x="19" y="185"/>
                      </a:cubicBezTo>
                      <a:cubicBezTo>
                        <a:pt x="18" y="185"/>
                        <a:pt x="17" y="186"/>
                        <a:pt x="17" y="186"/>
                      </a:cubicBezTo>
                      <a:cubicBezTo>
                        <a:pt x="16" y="187"/>
                        <a:pt x="16" y="187"/>
                        <a:pt x="15" y="188"/>
                      </a:cubicBezTo>
                      <a:cubicBezTo>
                        <a:pt x="14" y="188"/>
                        <a:pt x="14" y="189"/>
                        <a:pt x="13" y="189"/>
                      </a:cubicBezTo>
                      <a:cubicBezTo>
                        <a:pt x="13" y="189"/>
                        <a:pt x="13" y="190"/>
                        <a:pt x="13" y="190"/>
                      </a:cubicBezTo>
                      <a:cubicBezTo>
                        <a:pt x="13" y="190"/>
                        <a:pt x="13" y="190"/>
                        <a:pt x="13" y="190"/>
                      </a:cubicBezTo>
                      <a:cubicBezTo>
                        <a:pt x="12" y="191"/>
                        <a:pt x="12" y="191"/>
                        <a:pt x="12" y="191"/>
                      </a:cubicBezTo>
                      <a:cubicBezTo>
                        <a:pt x="11" y="192"/>
                        <a:pt x="11" y="192"/>
                        <a:pt x="10" y="193"/>
                      </a:cubicBezTo>
                      <a:cubicBezTo>
                        <a:pt x="10" y="193"/>
                        <a:pt x="10" y="193"/>
                        <a:pt x="10" y="194"/>
                      </a:cubicBezTo>
                      <a:cubicBezTo>
                        <a:pt x="9" y="194"/>
                        <a:pt x="9" y="194"/>
                        <a:pt x="9" y="195"/>
                      </a:cubicBezTo>
                      <a:cubicBezTo>
                        <a:pt x="9" y="195"/>
                        <a:pt x="8" y="196"/>
                        <a:pt x="8" y="196"/>
                      </a:cubicBezTo>
                      <a:cubicBezTo>
                        <a:pt x="7" y="197"/>
                        <a:pt x="7" y="197"/>
                        <a:pt x="7" y="198"/>
                      </a:cubicBezTo>
                      <a:cubicBezTo>
                        <a:pt x="7" y="198"/>
                        <a:pt x="7" y="198"/>
                        <a:pt x="6" y="198"/>
                      </a:cubicBezTo>
                      <a:cubicBezTo>
                        <a:pt x="6" y="199"/>
                        <a:pt x="6" y="200"/>
                        <a:pt x="5" y="200"/>
                      </a:cubicBezTo>
                      <a:cubicBezTo>
                        <a:pt x="5" y="201"/>
                        <a:pt x="5" y="201"/>
                        <a:pt x="5" y="202"/>
                      </a:cubicBezTo>
                      <a:cubicBezTo>
                        <a:pt x="5" y="202"/>
                        <a:pt x="4" y="202"/>
                        <a:pt x="4" y="202"/>
                      </a:cubicBezTo>
                      <a:cubicBezTo>
                        <a:pt x="4" y="203"/>
                        <a:pt x="4" y="204"/>
                        <a:pt x="3" y="204"/>
                      </a:cubicBezTo>
                      <a:cubicBezTo>
                        <a:pt x="3" y="205"/>
                        <a:pt x="3" y="205"/>
                        <a:pt x="3" y="206"/>
                      </a:cubicBezTo>
                      <a:cubicBezTo>
                        <a:pt x="3" y="206"/>
                        <a:pt x="3" y="206"/>
                        <a:pt x="3" y="207"/>
                      </a:cubicBezTo>
                      <a:cubicBezTo>
                        <a:pt x="2" y="207"/>
                        <a:pt x="2" y="208"/>
                        <a:pt x="2" y="209"/>
                      </a:cubicBezTo>
                      <a:cubicBezTo>
                        <a:pt x="2" y="209"/>
                        <a:pt x="2" y="210"/>
                        <a:pt x="2" y="210"/>
                      </a:cubicBezTo>
                      <a:cubicBezTo>
                        <a:pt x="1" y="210"/>
                        <a:pt x="1" y="210"/>
                        <a:pt x="1" y="210"/>
                      </a:cubicBezTo>
                      <a:cubicBezTo>
                        <a:pt x="1" y="211"/>
                        <a:pt x="1" y="211"/>
                        <a:pt x="1" y="211"/>
                      </a:cubicBezTo>
                      <a:cubicBezTo>
                        <a:pt x="1" y="212"/>
                        <a:pt x="1" y="212"/>
                        <a:pt x="1" y="213"/>
                      </a:cubicBezTo>
                      <a:cubicBezTo>
                        <a:pt x="1" y="214"/>
                        <a:pt x="1" y="214"/>
                        <a:pt x="1" y="215"/>
                      </a:cubicBezTo>
                      <a:cubicBezTo>
                        <a:pt x="1" y="215"/>
                        <a:pt x="1" y="215"/>
                        <a:pt x="1" y="215"/>
                      </a:cubicBezTo>
                      <a:cubicBezTo>
                        <a:pt x="0" y="215"/>
                        <a:pt x="0" y="215"/>
                        <a:pt x="0" y="215"/>
                      </a:cubicBezTo>
                      <a:cubicBezTo>
                        <a:pt x="0" y="216"/>
                        <a:pt x="0" y="217"/>
                        <a:pt x="0" y="218"/>
                      </a:cubicBezTo>
                      <a:cubicBezTo>
                        <a:pt x="0" y="218"/>
                        <a:pt x="0" y="219"/>
                        <a:pt x="0" y="219"/>
                      </a:cubicBezTo>
                      <a:cubicBezTo>
                        <a:pt x="0" y="220"/>
                        <a:pt x="0" y="220"/>
                        <a:pt x="0" y="220"/>
                      </a:cubicBezTo>
                      <a:cubicBezTo>
                        <a:pt x="0" y="221"/>
                        <a:pt x="0" y="221"/>
                        <a:pt x="0" y="222"/>
                      </a:cubicBezTo>
                      <a:cubicBezTo>
                        <a:pt x="0" y="223"/>
                        <a:pt x="0" y="223"/>
                        <a:pt x="0" y="224"/>
                      </a:cubicBezTo>
                      <a:cubicBezTo>
                        <a:pt x="0" y="224"/>
                        <a:pt x="0" y="224"/>
                        <a:pt x="0" y="225"/>
                      </a:cubicBezTo>
                      <a:cubicBezTo>
                        <a:pt x="0" y="225"/>
                        <a:pt x="0" y="226"/>
                        <a:pt x="0" y="227"/>
                      </a:cubicBezTo>
                      <a:cubicBezTo>
                        <a:pt x="0" y="227"/>
                        <a:pt x="0" y="228"/>
                        <a:pt x="0" y="228"/>
                      </a:cubicBezTo>
                      <a:cubicBezTo>
                        <a:pt x="0" y="229"/>
                        <a:pt x="0" y="229"/>
                        <a:pt x="0" y="229"/>
                      </a:cubicBezTo>
                      <a:cubicBezTo>
                        <a:pt x="0" y="230"/>
                        <a:pt x="1" y="230"/>
                        <a:pt x="1" y="231"/>
                      </a:cubicBezTo>
                      <a:cubicBezTo>
                        <a:pt x="1" y="232"/>
                        <a:pt x="1" y="232"/>
                        <a:pt x="1" y="233"/>
                      </a:cubicBezTo>
                      <a:cubicBezTo>
                        <a:pt x="1" y="233"/>
                        <a:pt x="1" y="233"/>
                        <a:pt x="1" y="234"/>
                      </a:cubicBezTo>
                      <a:cubicBezTo>
                        <a:pt x="1" y="234"/>
                        <a:pt x="2" y="235"/>
                        <a:pt x="2" y="236"/>
                      </a:cubicBezTo>
                      <a:cubicBezTo>
                        <a:pt x="2" y="236"/>
                        <a:pt x="2" y="237"/>
                        <a:pt x="2" y="237"/>
                      </a:cubicBezTo>
                      <a:cubicBezTo>
                        <a:pt x="2" y="238"/>
                        <a:pt x="3" y="238"/>
                        <a:pt x="3" y="238"/>
                      </a:cubicBezTo>
                      <a:cubicBezTo>
                        <a:pt x="3" y="239"/>
                        <a:pt x="3" y="239"/>
                        <a:pt x="3" y="240"/>
                      </a:cubicBezTo>
                      <a:cubicBezTo>
                        <a:pt x="4" y="241"/>
                        <a:pt x="4" y="241"/>
                        <a:pt x="4" y="242"/>
                      </a:cubicBezTo>
                      <a:cubicBezTo>
                        <a:pt x="4" y="242"/>
                        <a:pt x="4" y="242"/>
                        <a:pt x="4" y="242"/>
                      </a:cubicBezTo>
                      <a:cubicBezTo>
                        <a:pt x="5" y="243"/>
                        <a:pt x="5" y="244"/>
                        <a:pt x="5" y="244"/>
                      </a:cubicBezTo>
                      <a:cubicBezTo>
                        <a:pt x="6" y="245"/>
                        <a:pt x="6" y="245"/>
                        <a:pt x="6" y="246"/>
                      </a:cubicBezTo>
                      <a:cubicBezTo>
                        <a:pt x="170" y="533"/>
                        <a:pt x="170" y="533"/>
                        <a:pt x="170" y="533"/>
                      </a:cubicBezTo>
                      <a:cubicBezTo>
                        <a:pt x="179" y="548"/>
                        <a:pt x="195" y="556"/>
                        <a:pt x="211" y="556"/>
                      </a:cubicBezTo>
                      <a:cubicBezTo>
                        <a:pt x="219" y="556"/>
                        <a:pt x="227" y="554"/>
                        <a:pt x="234" y="550"/>
                      </a:cubicBezTo>
                      <a:cubicBezTo>
                        <a:pt x="256" y="537"/>
                        <a:pt x="264" y="509"/>
                        <a:pt x="251" y="486"/>
                      </a:cubicBezTo>
                      <a:cubicBezTo>
                        <a:pt x="138" y="289"/>
                        <a:pt x="138" y="289"/>
                        <a:pt x="138" y="289"/>
                      </a:cubicBezTo>
                      <a:cubicBezTo>
                        <a:pt x="400" y="352"/>
                        <a:pt x="672" y="504"/>
                        <a:pt x="752" y="858"/>
                      </a:cubicBezTo>
                      <a:cubicBezTo>
                        <a:pt x="754" y="865"/>
                        <a:pt x="756" y="872"/>
                        <a:pt x="757" y="879"/>
                      </a:cubicBezTo>
                      <a:cubicBezTo>
                        <a:pt x="760" y="893"/>
                        <a:pt x="762" y="908"/>
                        <a:pt x="765" y="922"/>
                      </a:cubicBezTo>
                      <a:cubicBezTo>
                        <a:pt x="772" y="972"/>
                        <a:pt x="776" y="1026"/>
                        <a:pt x="776" y="1083"/>
                      </a:cubicBezTo>
                      <a:cubicBezTo>
                        <a:pt x="776" y="1108"/>
                        <a:pt x="795" y="1128"/>
                        <a:pt x="819" y="1130"/>
                      </a:cubicBezTo>
                      <a:cubicBezTo>
                        <a:pt x="820" y="1130"/>
                        <a:pt x="821" y="1130"/>
                        <a:pt x="823" y="1130"/>
                      </a:cubicBezTo>
                      <a:cubicBezTo>
                        <a:pt x="825" y="1130"/>
                        <a:pt x="826" y="1130"/>
                        <a:pt x="827" y="1130"/>
                      </a:cubicBezTo>
                      <a:cubicBezTo>
                        <a:pt x="851" y="1128"/>
                        <a:pt x="870" y="1108"/>
                        <a:pt x="870" y="1083"/>
                      </a:cubicBezTo>
                      <a:cubicBezTo>
                        <a:pt x="870" y="1054"/>
                        <a:pt x="869" y="1026"/>
                        <a:pt x="867" y="99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17" name="bcgIcons_LogicTree">
            <a:extLst>
              <a:ext uri="{FF2B5EF4-FFF2-40B4-BE49-F238E27FC236}">
                <a16:creationId xmlns:a16="http://schemas.microsoft.com/office/drawing/2014/main" id="{75517C07-F054-4829-ABCD-E121AE22A1D1}"/>
              </a:ext>
            </a:extLst>
          </p:cNvPr>
          <p:cNvGrpSpPr>
            <a:grpSpLocks noChangeAspect="1"/>
          </p:cNvGrpSpPr>
          <p:nvPr/>
        </p:nvGrpSpPr>
        <p:grpSpPr bwMode="auto">
          <a:xfrm>
            <a:off x="4405180" y="2339662"/>
            <a:ext cx="1246877" cy="1248033"/>
            <a:chOff x="1682" y="0"/>
            <a:chExt cx="4316" cy="4320"/>
          </a:xfrm>
        </p:grpSpPr>
        <p:sp>
          <p:nvSpPr>
            <p:cNvPr id="18" name="AutoShape 3">
              <a:extLst>
                <a:ext uri="{FF2B5EF4-FFF2-40B4-BE49-F238E27FC236}">
                  <a16:creationId xmlns:a16="http://schemas.microsoft.com/office/drawing/2014/main" id="{0752A4AF-84B3-4F20-B02C-7CECC8D059F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5">
              <a:extLst>
                <a:ext uri="{FF2B5EF4-FFF2-40B4-BE49-F238E27FC236}">
                  <a16:creationId xmlns:a16="http://schemas.microsoft.com/office/drawing/2014/main" id="{0543821B-2536-48B5-A624-D843C5D76085}"/>
                </a:ext>
              </a:extLst>
            </p:cNvPr>
            <p:cNvSpPr>
              <a:spLocks noEditPoints="1"/>
            </p:cNvSpPr>
            <p:nvPr/>
          </p:nvSpPr>
          <p:spPr bwMode="auto">
            <a:xfrm>
              <a:off x="2126" y="446"/>
              <a:ext cx="3424" cy="3428"/>
            </a:xfrm>
            <a:custGeom>
              <a:avLst/>
              <a:gdLst>
                <a:gd name="T0" fmla="*/ 914 w 1828"/>
                <a:gd name="T1" fmla="*/ 491 h 1828"/>
                <a:gd name="T2" fmla="*/ 668 w 1828"/>
                <a:gd name="T3" fmla="*/ 246 h 1828"/>
                <a:gd name="T4" fmla="*/ 914 w 1828"/>
                <a:gd name="T5" fmla="*/ 0 h 1828"/>
                <a:gd name="T6" fmla="*/ 1160 w 1828"/>
                <a:gd name="T7" fmla="*/ 246 h 1828"/>
                <a:gd name="T8" fmla="*/ 914 w 1828"/>
                <a:gd name="T9" fmla="*/ 491 h 1828"/>
                <a:gd name="T10" fmla="*/ 881 w 1828"/>
                <a:gd name="T11" fmla="*/ 1704 h 1828"/>
                <a:gd name="T12" fmla="*/ 757 w 1828"/>
                <a:gd name="T13" fmla="*/ 1580 h 1828"/>
                <a:gd name="T14" fmla="*/ 633 w 1828"/>
                <a:gd name="T15" fmla="*/ 1704 h 1828"/>
                <a:gd name="T16" fmla="*/ 757 w 1828"/>
                <a:gd name="T17" fmla="*/ 1828 h 1828"/>
                <a:gd name="T18" fmla="*/ 881 w 1828"/>
                <a:gd name="T19" fmla="*/ 1704 h 1828"/>
                <a:gd name="T20" fmla="*/ 1195 w 1828"/>
                <a:gd name="T21" fmla="*/ 1704 h 1828"/>
                <a:gd name="T22" fmla="*/ 1071 w 1828"/>
                <a:gd name="T23" fmla="*/ 1580 h 1828"/>
                <a:gd name="T24" fmla="*/ 947 w 1828"/>
                <a:gd name="T25" fmla="*/ 1704 h 1828"/>
                <a:gd name="T26" fmla="*/ 1071 w 1828"/>
                <a:gd name="T27" fmla="*/ 1828 h 1828"/>
                <a:gd name="T28" fmla="*/ 1195 w 1828"/>
                <a:gd name="T29" fmla="*/ 1704 h 1828"/>
                <a:gd name="T30" fmla="*/ 1513 w 1828"/>
                <a:gd name="T31" fmla="*/ 1704 h 1828"/>
                <a:gd name="T32" fmla="*/ 1389 w 1828"/>
                <a:gd name="T33" fmla="*/ 1580 h 1828"/>
                <a:gd name="T34" fmla="*/ 1265 w 1828"/>
                <a:gd name="T35" fmla="*/ 1704 h 1828"/>
                <a:gd name="T36" fmla="*/ 1389 w 1828"/>
                <a:gd name="T37" fmla="*/ 1828 h 1828"/>
                <a:gd name="T38" fmla="*/ 1513 w 1828"/>
                <a:gd name="T39" fmla="*/ 1704 h 1828"/>
                <a:gd name="T40" fmla="*/ 1828 w 1828"/>
                <a:gd name="T41" fmla="*/ 1704 h 1828"/>
                <a:gd name="T42" fmla="*/ 1704 w 1828"/>
                <a:gd name="T43" fmla="*/ 1580 h 1828"/>
                <a:gd name="T44" fmla="*/ 1580 w 1828"/>
                <a:gd name="T45" fmla="*/ 1704 h 1828"/>
                <a:gd name="T46" fmla="*/ 1704 w 1828"/>
                <a:gd name="T47" fmla="*/ 1828 h 1828"/>
                <a:gd name="T48" fmla="*/ 1828 w 1828"/>
                <a:gd name="T49" fmla="*/ 1704 h 1828"/>
                <a:gd name="T50" fmla="*/ 248 w 1828"/>
                <a:gd name="T51" fmla="*/ 1704 h 1828"/>
                <a:gd name="T52" fmla="*/ 124 w 1828"/>
                <a:gd name="T53" fmla="*/ 1580 h 1828"/>
                <a:gd name="T54" fmla="*/ 0 w 1828"/>
                <a:gd name="T55" fmla="*/ 1704 h 1828"/>
                <a:gd name="T56" fmla="*/ 124 w 1828"/>
                <a:gd name="T57" fmla="*/ 1828 h 1828"/>
                <a:gd name="T58" fmla="*/ 248 w 1828"/>
                <a:gd name="T59" fmla="*/ 1704 h 1828"/>
                <a:gd name="T60" fmla="*/ 563 w 1828"/>
                <a:gd name="T61" fmla="*/ 1704 h 1828"/>
                <a:gd name="T62" fmla="*/ 439 w 1828"/>
                <a:gd name="T63" fmla="*/ 1580 h 1828"/>
                <a:gd name="T64" fmla="*/ 315 w 1828"/>
                <a:gd name="T65" fmla="*/ 1704 h 1828"/>
                <a:gd name="T66" fmla="*/ 439 w 1828"/>
                <a:gd name="T67" fmla="*/ 1828 h 1828"/>
                <a:gd name="T68" fmla="*/ 563 w 1828"/>
                <a:gd name="T69" fmla="*/ 1704 h 1828"/>
                <a:gd name="T70" fmla="*/ 468 w 1828"/>
                <a:gd name="T71" fmla="*/ 1200 h 1828"/>
                <a:gd name="T72" fmla="*/ 468 w 1828"/>
                <a:gd name="T73" fmla="*/ 871 h 1828"/>
                <a:gd name="T74" fmla="*/ 446 w 1828"/>
                <a:gd name="T75" fmla="*/ 849 h 1828"/>
                <a:gd name="T76" fmla="*/ 117 w 1828"/>
                <a:gd name="T77" fmla="*/ 849 h 1828"/>
                <a:gd name="T78" fmla="*/ 95 w 1828"/>
                <a:gd name="T79" fmla="*/ 871 h 1828"/>
                <a:gd name="T80" fmla="*/ 95 w 1828"/>
                <a:gd name="T81" fmla="*/ 1200 h 1828"/>
                <a:gd name="T82" fmla="*/ 117 w 1828"/>
                <a:gd name="T83" fmla="*/ 1222 h 1828"/>
                <a:gd name="T84" fmla="*/ 446 w 1828"/>
                <a:gd name="T85" fmla="*/ 1222 h 1828"/>
                <a:gd name="T86" fmla="*/ 468 w 1828"/>
                <a:gd name="T87" fmla="*/ 1200 h 1828"/>
                <a:gd name="T88" fmla="*/ 1101 w 1828"/>
                <a:gd name="T89" fmla="*/ 1200 h 1828"/>
                <a:gd name="T90" fmla="*/ 1101 w 1828"/>
                <a:gd name="T91" fmla="*/ 871 h 1828"/>
                <a:gd name="T92" fmla="*/ 1079 w 1828"/>
                <a:gd name="T93" fmla="*/ 849 h 1828"/>
                <a:gd name="T94" fmla="*/ 749 w 1828"/>
                <a:gd name="T95" fmla="*/ 849 h 1828"/>
                <a:gd name="T96" fmla="*/ 727 w 1828"/>
                <a:gd name="T97" fmla="*/ 871 h 1828"/>
                <a:gd name="T98" fmla="*/ 727 w 1828"/>
                <a:gd name="T99" fmla="*/ 1200 h 1828"/>
                <a:gd name="T100" fmla="*/ 749 w 1828"/>
                <a:gd name="T101" fmla="*/ 1222 h 1828"/>
                <a:gd name="T102" fmla="*/ 1079 w 1828"/>
                <a:gd name="T103" fmla="*/ 1222 h 1828"/>
                <a:gd name="T104" fmla="*/ 1101 w 1828"/>
                <a:gd name="T105" fmla="*/ 1200 h 1828"/>
                <a:gd name="T106" fmla="*/ 1733 w 1828"/>
                <a:gd name="T107" fmla="*/ 1200 h 1828"/>
                <a:gd name="T108" fmla="*/ 1733 w 1828"/>
                <a:gd name="T109" fmla="*/ 871 h 1828"/>
                <a:gd name="T110" fmla="*/ 1711 w 1828"/>
                <a:gd name="T111" fmla="*/ 849 h 1828"/>
                <a:gd name="T112" fmla="*/ 1382 w 1828"/>
                <a:gd name="T113" fmla="*/ 849 h 1828"/>
                <a:gd name="T114" fmla="*/ 1360 w 1828"/>
                <a:gd name="T115" fmla="*/ 871 h 1828"/>
                <a:gd name="T116" fmla="*/ 1360 w 1828"/>
                <a:gd name="T117" fmla="*/ 1200 h 1828"/>
                <a:gd name="T118" fmla="*/ 1382 w 1828"/>
                <a:gd name="T119" fmla="*/ 1222 h 1828"/>
                <a:gd name="T120" fmla="*/ 1711 w 1828"/>
                <a:gd name="T121" fmla="*/ 1222 h 1828"/>
                <a:gd name="T122" fmla="*/ 1733 w 1828"/>
                <a:gd name="T123" fmla="*/ 120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8" h="1828">
                  <a:moveTo>
                    <a:pt x="914" y="491"/>
                  </a:moveTo>
                  <a:cubicBezTo>
                    <a:pt x="778" y="491"/>
                    <a:pt x="668" y="381"/>
                    <a:pt x="668" y="246"/>
                  </a:cubicBezTo>
                  <a:cubicBezTo>
                    <a:pt x="668" y="110"/>
                    <a:pt x="778" y="0"/>
                    <a:pt x="914" y="0"/>
                  </a:cubicBezTo>
                  <a:cubicBezTo>
                    <a:pt x="1050" y="0"/>
                    <a:pt x="1160" y="110"/>
                    <a:pt x="1160" y="246"/>
                  </a:cubicBezTo>
                  <a:cubicBezTo>
                    <a:pt x="1160" y="381"/>
                    <a:pt x="1050" y="491"/>
                    <a:pt x="914" y="491"/>
                  </a:cubicBezTo>
                  <a:close/>
                  <a:moveTo>
                    <a:pt x="881" y="1704"/>
                  </a:moveTo>
                  <a:cubicBezTo>
                    <a:pt x="881" y="1635"/>
                    <a:pt x="825" y="1580"/>
                    <a:pt x="757" y="1580"/>
                  </a:cubicBezTo>
                  <a:cubicBezTo>
                    <a:pt x="688" y="1580"/>
                    <a:pt x="633" y="1635"/>
                    <a:pt x="633" y="1704"/>
                  </a:cubicBezTo>
                  <a:cubicBezTo>
                    <a:pt x="633" y="1772"/>
                    <a:pt x="688" y="1828"/>
                    <a:pt x="757" y="1828"/>
                  </a:cubicBezTo>
                  <a:cubicBezTo>
                    <a:pt x="825" y="1828"/>
                    <a:pt x="881" y="1772"/>
                    <a:pt x="881" y="1704"/>
                  </a:cubicBezTo>
                  <a:close/>
                  <a:moveTo>
                    <a:pt x="1195" y="1704"/>
                  </a:moveTo>
                  <a:cubicBezTo>
                    <a:pt x="1195" y="1635"/>
                    <a:pt x="1140" y="1580"/>
                    <a:pt x="1071" y="1580"/>
                  </a:cubicBezTo>
                  <a:cubicBezTo>
                    <a:pt x="1003" y="1580"/>
                    <a:pt x="947" y="1635"/>
                    <a:pt x="947" y="1704"/>
                  </a:cubicBezTo>
                  <a:cubicBezTo>
                    <a:pt x="947" y="1772"/>
                    <a:pt x="1003" y="1828"/>
                    <a:pt x="1071" y="1828"/>
                  </a:cubicBezTo>
                  <a:cubicBezTo>
                    <a:pt x="1140" y="1828"/>
                    <a:pt x="1195" y="1772"/>
                    <a:pt x="1195" y="1704"/>
                  </a:cubicBezTo>
                  <a:close/>
                  <a:moveTo>
                    <a:pt x="1513" y="1704"/>
                  </a:moveTo>
                  <a:cubicBezTo>
                    <a:pt x="1513" y="1635"/>
                    <a:pt x="1458" y="1580"/>
                    <a:pt x="1389" y="1580"/>
                  </a:cubicBezTo>
                  <a:cubicBezTo>
                    <a:pt x="1321" y="1580"/>
                    <a:pt x="1265" y="1635"/>
                    <a:pt x="1265" y="1704"/>
                  </a:cubicBezTo>
                  <a:cubicBezTo>
                    <a:pt x="1265" y="1772"/>
                    <a:pt x="1321" y="1828"/>
                    <a:pt x="1389" y="1828"/>
                  </a:cubicBezTo>
                  <a:cubicBezTo>
                    <a:pt x="1458" y="1828"/>
                    <a:pt x="1513" y="1772"/>
                    <a:pt x="1513" y="1704"/>
                  </a:cubicBezTo>
                  <a:close/>
                  <a:moveTo>
                    <a:pt x="1828" y="1704"/>
                  </a:moveTo>
                  <a:cubicBezTo>
                    <a:pt x="1828" y="1635"/>
                    <a:pt x="1772" y="1580"/>
                    <a:pt x="1704" y="1580"/>
                  </a:cubicBezTo>
                  <a:cubicBezTo>
                    <a:pt x="1635" y="1580"/>
                    <a:pt x="1580" y="1635"/>
                    <a:pt x="1580" y="1704"/>
                  </a:cubicBezTo>
                  <a:cubicBezTo>
                    <a:pt x="1580" y="1772"/>
                    <a:pt x="1635" y="1828"/>
                    <a:pt x="1704" y="1828"/>
                  </a:cubicBezTo>
                  <a:cubicBezTo>
                    <a:pt x="1772" y="1828"/>
                    <a:pt x="1828" y="1772"/>
                    <a:pt x="1828" y="1704"/>
                  </a:cubicBezTo>
                  <a:close/>
                  <a:moveTo>
                    <a:pt x="248" y="1704"/>
                  </a:moveTo>
                  <a:cubicBezTo>
                    <a:pt x="248" y="1635"/>
                    <a:pt x="193" y="1580"/>
                    <a:pt x="124" y="1580"/>
                  </a:cubicBezTo>
                  <a:cubicBezTo>
                    <a:pt x="56" y="1580"/>
                    <a:pt x="0" y="1635"/>
                    <a:pt x="0" y="1704"/>
                  </a:cubicBezTo>
                  <a:cubicBezTo>
                    <a:pt x="0" y="1772"/>
                    <a:pt x="56" y="1828"/>
                    <a:pt x="124" y="1828"/>
                  </a:cubicBezTo>
                  <a:cubicBezTo>
                    <a:pt x="193" y="1828"/>
                    <a:pt x="248" y="1772"/>
                    <a:pt x="248" y="1704"/>
                  </a:cubicBezTo>
                  <a:close/>
                  <a:moveTo>
                    <a:pt x="563" y="1704"/>
                  </a:moveTo>
                  <a:cubicBezTo>
                    <a:pt x="563" y="1635"/>
                    <a:pt x="507" y="1580"/>
                    <a:pt x="439" y="1580"/>
                  </a:cubicBezTo>
                  <a:cubicBezTo>
                    <a:pt x="370" y="1580"/>
                    <a:pt x="315" y="1635"/>
                    <a:pt x="315" y="1704"/>
                  </a:cubicBezTo>
                  <a:cubicBezTo>
                    <a:pt x="315" y="1772"/>
                    <a:pt x="370" y="1828"/>
                    <a:pt x="439" y="1828"/>
                  </a:cubicBezTo>
                  <a:cubicBezTo>
                    <a:pt x="507" y="1828"/>
                    <a:pt x="563" y="1772"/>
                    <a:pt x="563" y="1704"/>
                  </a:cubicBezTo>
                  <a:close/>
                  <a:moveTo>
                    <a:pt x="468" y="1200"/>
                  </a:moveTo>
                  <a:cubicBezTo>
                    <a:pt x="468" y="871"/>
                    <a:pt x="468" y="871"/>
                    <a:pt x="468" y="871"/>
                  </a:cubicBezTo>
                  <a:cubicBezTo>
                    <a:pt x="468" y="859"/>
                    <a:pt x="458" y="849"/>
                    <a:pt x="446" y="849"/>
                  </a:cubicBezTo>
                  <a:cubicBezTo>
                    <a:pt x="117" y="849"/>
                    <a:pt x="117" y="849"/>
                    <a:pt x="117" y="849"/>
                  </a:cubicBezTo>
                  <a:cubicBezTo>
                    <a:pt x="105" y="849"/>
                    <a:pt x="95" y="859"/>
                    <a:pt x="95" y="871"/>
                  </a:cubicBezTo>
                  <a:cubicBezTo>
                    <a:pt x="95" y="1200"/>
                    <a:pt x="95" y="1200"/>
                    <a:pt x="95" y="1200"/>
                  </a:cubicBezTo>
                  <a:cubicBezTo>
                    <a:pt x="95" y="1212"/>
                    <a:pt x="105" y="1222"/>
                    <a:pt x="117" y="1222"/>
                  </a:cubicBezTo>
                  <a:cubicBezTo>
                    <a:pt x="446" y="1222"/>
                    <a:pt x="446" y="1222"/>
                    <a:pt x="446" y="1222"/>
                  </a:cubicBezTo>
                  <a:cubicBezTo>
                    <a:pt x="458" y="1222"/>
                    <a:pt x="468" y="1212"/>
                    <a:pt x="468" y="1200"/>
                  </a:cubicBezTo>
                  <a:close/>
                  <a:moveTo>
                    <a:pt x="1101" y="1200"/>
                  </a:moveTo>
                  <a:cubicBezTo>
                    <a:pt x="1101" y="871"/>
                    <a:pt x="1101" y="871"/>
                    <a:pt x="1101" y="871"/>
                  </a:cubicBezTo>
                  <a:cubicBezTo>
                    <a:pt x="1101" y="859"/>
                    <a:pt x="1091" y="849"/>
                    <a:pt x="1079" y="849"/>
                  </a:cubicBezTo>
                  <a:cubicBezTo>
                    <a:pt x="749" y="849"/>
                    <a:pt x="749" y="849"/>
                    <a:pt x="749" y="849"/>
                  </a:cubicBezTo>
                  <a:cubicBezTo>
                    <a:pt x="737" y="849"/>
                    <a:pt x="727" y="859"/>
                    <a:pt x="727" y="871"/>
                  </a:cubicBezTo>
                  <a:cubicBezTo>
                    <a:pt x="727" y="1200"/>
                    <a:pt x="727" y="1200"/>
                    <a:pt x="727" y="1200"/>
                  </a:cubicBezTo>
                  <a:cubicBezTo>
                    <a:pt x="727" y="1212"/>
                    <a:pt x="737" y="1222"/>
                    <a:pt x="749" y="1222"/>
                  </a:cubicBezTo>
                  <a:cubicBezTo>
                    <a:pt x="1079" y="1222"/>
                    <a:pt x="1079" y="1222"/>
                    <a:pt x="1079" y="1222"/>
                  </a:cubicBezTo>
                  <a:cubicBezTo>
                    <a:pt x="1091" y="1222"/>
                    <a:pt x="1101" y="1212"/>
                    <a:pt x="1101" y="1200"/>
                  </a:cubicBezTo>
                  <a:close/>
                  <a:moveTo>
                    <a:pt x="1733" y="1200"/>
                  </a:moveTo>
                  <a:cubicBezTo>
                    <a:pt x="1733" y="871"/>
                    <a:pt x="1733" y="871"/>
                    <a:pt x="1733" y="871"/>
                  </a:cubicBezTo>
                  <a:cubicBezTo>
                    <a:pt x="1733" y="859"/>
                    <a:pt x="1723" y="849"/>
                    <a:pt x="1711" y="849"/>
                  </a:cubicBezTo>
                  <a:cubicBezTo>
                    <a:pt x="1382" y="849"/>
                    <a:pt x="1382" y="849"/>
                    <a:pt x="1382" y="849"/>
                  </a:cubicBezTo>
                  <a:cubicBezTo>
                    <a:pt x="1370" y="849"/>
                    <a:pt x="1360" y="859"/>
                    <a:pt x="1360" y="871"/>
                  </a:cubicBezTo>
                  <a:cubicBezTo>
                    <a:pt x="1360" y="1200"/>
                    <a:pt x="1360" y="1200"/>
                    <a:pt x="1360" y="1200"/>
                  </a:cubicBezTo>
                  <a:cubicBezTo>
                    <a:pt x="1360" y="1212"/>
                    <a:pt x="1370" y="1222"/>
                    <a:pt x="1382" y="1222"/>
                  </a:cubicBezTo>
                  <a:cubicBezTo>
                    <a:pt x="1711" y="1222"/>
                    <a:pt x="1711" y="1222"/>
                    <a:pt x="1711" y="1222"/>
                  </a:cubicBezTo>
                  <a:cubicBezTo>
                    <a:pt x="1723" y="1222"/>
                    <a:pt x="1733" y="1212"/>
                    <a:pt x="1733" y="12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8A79B397-1A17-4C6E-907C-ACCE065809FA}"/>
                </a:ext>
              </a:extLst>
            </p:cNvPr>
            <p:cNvSpPr>
              <a:spLocks noEditPoints="1"/>
            </p:cNvSpPr>
            <p:nvPr/>
          </p:nvSpPr>
          <p:spPr bwMode="auto">
            <a:xfrm>
              <a:off x="2317" y="1448"/>
              <a:ext cx="3042" cy="1880"/>
            </a:xfrm>
            <a:custGeom>
              <a:avLst/>
              <a:gdLst>
                <a:gd name="T0" fmla="*/ 359 w 1624"/>
                <a:gd name="T1" fmla="*/ 1003 h 1003"/>
                <a:gd name="T2" fmla="*/ 315 w 1624"/>
                <a:gd name="T3" fmla="*/ 1003 h 1003"/>
                <a:gd name="T4" fmla="*/ 44 w 1624"/>
                <a:gd name="T5" fmla="*/ 889 h 1003"/>
                <a:gd name="T6" fmla="*/ 22 w 1624"/>
                <a:gd name="T7" fmla="*/ 1002 h 1003"/>
                <a:gd name="T8" fmla="*/ 0 w 1624"/>
                <a:gd name="T9" fmla="*/ 867 h 1003"/>
                <a:gd name="T10" fmla="*/ 157 w 1624"/>
                <a:gd name="T11" fmla="*/ 845 h 1003"/>
                <a:gd name="T12" fmla="*/ 201 w 1624"/>
                <a:gd name="T13" fmla="*/ 732 h 1003"/>
                <a:gd name="T14" fmla="*/ 337 w 1624"/>
                <a:gd name="T15" fmla="*/ 845 h 1003"/>
                <a:gd name="T16" fmla="*/ 969 w 1624"/>
                <a:gd name="T17" fmla="*/ 845 h 1003"/>
                <a:gd name="T18" fmla="*/ 834 w 1624"/>
                <a:gd name="T19" fmla="*/ 732 h 1003"/>
                <a:gd name="T20" fmla="*/ 790 w 1624"/>
                <a:gd name="T21" fmla="*/ 845 h 1003"/>
                <a:gd name="T22" fmla="*/ 633 w 1624"/>
                <a:gd name="T23" fmla="*/ 867 h 1003"/>
                <a:gd name="T24" fmla="*/ 655 w 1624"/>
                <a:gd name="T25" fmla="*/ 1002 h 1003"/>
                <a:gd name="T26" fmla="*/ 677 w 1624"/>
                <a:gd name="T27" fmla="*/ 889 h 1003"/>
                <a:gd name="T28" fmla="*/ 947 w 1624"/>
                <a:gd name="T29" fmla="*/ 1003 h 1003"/>
                <a:gd name="T30" fmla="*/ 991 w 1624"/>
                <a:gd name="T31" fmla="*/ 1003 h 1003"/>
                <a:gd name="T32" fmla="*/ 969 w 1624"/>
                <a:gd name="T33" fmla="*/ 845 h 1003"/>
                <a:gd name="T34" fmla="*/ 1467 w 1624"/>
                <a:gd name="T35" fmla="*/ 845 h 1003"/>
                <a:gd name="T36" fmla="*/ 1423 w 1624"/>
                <a:gd name="T37" fmla="*/ 732 h 1003"/>
                <a:gd name="T38" fmla="*/ 1287 w 1624"/>
                <a:gd name="T39" fmla="*/ 845 h 1003"/>
                <a:gd name="T40" fmla="*/ 1265 w 1624"/>
                <a:gd name="T41" fmla="*/ 1003 h 1003"/>
                <a:gd name="T42" fmla="*/ 1309 w 1624"/>
                <a:gd name="T43" fmla="*/ 1003 h 1003"/>
                <a:gd name="T44" fmla="*/ 1580 w 1624"/>
                <a:gd name="T45" fmla="*/ 889 h 1003"/>
                <a:gd name="T46" fmla="*/ 1602 w 1624"/>
                <a:gd name="T47" fmla="*/ 1002 h 1003"/>
                <a:gd name="T48" fmla="*/ 1624 w 1624"/>
                <a:gd name="T49" fmla="*/ 867 h 1003"/>
                <a:gd name="T50" fmla="*/ 1445 w 1624"/>
                <a:gd name="T51" fmla="*/ 114 h 1003"/>
                <a:gd name="T52" fmla="*/ 834 w 1624"/>
                <a:gd name="T53" fmla="*/ 0 h 1003"/>
                <a:gd name="T54" fmla="*/ 790 w 1624"/>
                <a:gd name="T55" fmla="*/ 0 h 1003"/>
                <a:gd name="T56" fmla="*/ 179 w 1624"/>
                <a:gd name="T57" fmla="*/ 114 h 1003"/>
                <a:gd name="T58" fmla="*/ 157 w 1624"/>
                <a:gd name="T59" fmla="*/ 271 h 1003"/>
                <a:gd name="T60" fmla="*/ 201 w 1624"/>
                <a:gd name="T61" fmla="*/ 158 h 1003"/>
                <a:gd name="T62" fmla="*/ 790 w 1624"/>
                <a:gd name="T63" fmla="*/ 271 h 1003"/>
                <a:gd name="T64" fmla="*/ 834 w 1624"/>
                <a:gd name="T65" fmla="*/ 158 h 1003"/>
                <a:gd name="T66" fmla="*/ 1423 w 1624"/>
                <a:gd name="T67" fmla="*/ 271 h 1003"/>
                <a:gd name="T68" fmla="*/ 1467 w 1624"/>
                <a:gd name="T69" fmla="*/ 13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4" h="1003">
                  <a:moveTo>
                    <a:pt x="359" y="867"/>
                  </a:moveTo>
                  <a:cubicBezTo>
                    <a:pt x="359" y="1003"/>
                    <a:pt x="359" y="1003"/>
                    <a:pt x="359" y="1003"/>
                  </a:cubicBezTo>
                  <a:cubicBezTo>
                    <a:pt x="352" y="1002"/>
                    <a:pt x="344" y="1002"/>
                    <a:pt x="337" y="1002"/>
                  </a:cubicBezTo>
                  <a:cubicBezTo>
                    <a:pt x="329" y="1002"/>
                    <a:pt x="322" y="1002"/>
                    <a:pt x="315" y="1003"/>
                  </a:cubicBezTo>
                  <a:cubicBezTo>
                    <a:pt x="315" y="889"/>
                    <a:pt x="315" y="889"/>
                    <a:pt x="315" y="889"/>
                  </a:cubicBezTo>
                  <a:cubicBezTo>
                    <a:pt x="44" y="889"/>
                    <a:pt x="44" y="889"/>
                    <a:pt x="44" y="889"/>
                  </a:cubicBezTo>
                  <a:cubicBezTo>
                    <a:pt x="44" y="1003"/>
                    <a:pt x="44" y="1003"/>
                    <a:pt x="44" y="1003"/>
                  </a:cubicBezTo>
                  <a:cubicBezTo>
                    <a:pt x="37" y="1002"/>
                    <a:pt x="30" y="1002"/>
                    <a:pt x="22" y="1002"/>
                  </a:cubicBezTo>
                  <a:cubicBezTo>
                    <a:pt x="15" y="1002"/>
                    <a:pt x="7" y="1002"/>
                    <a:pt x="0" y="1003"/>
                  </a:cubicBezTo>
                  <a:cubicBezTo>
                    <a:pt x="0" y="867"/>
                    <a:pt x="0" y="867"/>
                    <a:pt x="0" y="867"/>
                  </a:cubicBezTo>
                  <a:cubicBezTo>
                    <a:pt x="0" y="855"/>
                    <a:pt x="10" y="845"/>
                    <a:pt x="22" y="845"/>
                  </a:cubicBezTo>
                  <a:cubicBezTo>
                    <a:pt x="157" y="845"/>
                    <a:pt x="157" y="845"/>
                    <a:pt x="157" y="845"/>
                  </a:cubicBezTo>
                  <a:cubicBezTo>
                    <a:pt x="157" y="732"/>
                    <a:pt x="157" y="732"/>
                    <a:pt x="157" y="732"/>
                  </a:cubicBezTo>
                  <a:cubicBezTo>
                    <a:pt x="201" y="732"/>
                    <a:pt x="201" y="732"/>
                    <a:pt x="201" y="732"/>
                  </a:cubicBezTo>
                  <a:cubicBezTo>
                    <a:pt x="201" y="845"/>
                    <a:pt x="201" y="845"/>
                    <a:pt x="201" y="845"/>
                  </a:cubicBezTo>
                  <a:cubicBezTo>
                    <a:pt x="337" y="845"/>
                    <a:pt x="337" y="845"/>
                    <a:pt x="337" y="845"/>
                  </a:cubicBezTo>
                  <a:cubicBezTo>
                    <a:pt x="349" y="845"/>
                    <a:pt x="359" y="855"/>
                    <a:pt x="359" y="867"/>
                  </a:cubicBezTo>
                  <a:close/>
                  <a:moveTo>
                    <a:pt x="969" y="845"/>
                  </a:moveTo>
                  <a:cubicBezTo>
                    <a:pt x="834" y="845"/>
                    <a:pt x="834" y="845"/>
                    <a:pt x="834" y="845"/>
                  </a:cubicBezTo>
                  <a:cubicBezTo>
                    <a:pt x="834" y="732"/>
                    <a:pt x="834" y="732"/>
                    <a:pt x="834" y="732"/>
                  </a:cubicBezTo>
                  <a:cubicBezTo>
                    <a:pt x="790" y="732"/>
                    <a:pt x="790" y="732"/>
                    <a:pt x="790" y="732"/>
                  </a:cubicBezTo>
                  <a:cubicBezTo>
                    <a:pt x="790" y="845"/>
                    <a:pt x="790" y="845"/>
                    <a:pt x="790" y="845"/>
                  </a:cubicBezTo>
                  <a:cubicBezTo>
                    <a:pt x="655" y="845"/>
                    <a:pt x="655" y="845"/>
                    <a:pt x="655" y="845"/>
                  </a:cubicBezTo>
                  <a:cubicBezTo>
                    <a:pt x="643" y="845"/>
                    <a:pt x="633" y="855"/>
                    <a:pt x="633" y="867"/>
                  </a:cubicBezTo>
                  <a:cubicBezTo>
                    <a:pt x="633" y="1003"/>
                    <a:pt x="633" y="1003"/>
                    <a:pt x="633" y="1003"/>
                  </a:cubicBezTo>
                  <a:cubicBezTo>
                    <a:pt x="640" y="1002"/>
                    <a:pt x="647" y="1002"/>
                    <a:pt x="655" y="1002"/>
                  </a:cubicBezTo>
                  <a:cubicBezTo>
                    <a:pt x="662" y="1002"/>
                    <a:pt x="669" y="1002"/>
                    <a:pt x="677" y="1003"/>
                  </a:cubicBezTo>
                  <a:cubicBezTo>
                    <a:pt x="677" y="889"/>
                    <a:pt x="677" y="889"/>
                    <a:pt x="677" y="889"/>
                  </a:cubicBezTo>
                  <a:cubicBezTo>
                    <a:pt x="947" y="889"/>
                    <a:pt x="947" y="889"/>
                    <a:pt x="947" y="889"/>
                  </a:cubicBezTo>
                  <a:cubicBezTo>
                    <a:pt x="947" y="1003"/>
                    <a:pt x="947" y="1003"/>
                    <a:pt x="947" y="1003"/>
                  </a:cubicBezTo>
                  <a:cubicBezTo>
                    <a:pt x="955" y="1002"/>
                    <a:pt x="962" y="1002"/>
                    <a:pt x="969" y="1002"/>
                  </a:cubicBezTo>
                  <a:cubicBezTo>
                    <a:pt x="977" y="1002"/>
                    <a:pt x="984" y="1002"/>
                    <a:pt x="991" y="1003"/>
                  </a:cubicBezTo>
                  <a:cubicBezTo>
                    <a:pt x="991" y="867"/>
                    <a:pt x="991" y="867"/>
                    <a:pt x="991" y="867"/>
                  </a:cubicBezTo>
                  <a:cubicBezTo>
                    <a:pt x="991" y="855"/>
                    <a:pt x="981" y="845"/>
                    <a:pt x="969" y="845"/>
                  </a:cubicBezTo>
                  <a:close/>
                  <a:moveTo>
                    <a:pt x="1602" y="845"/>
                  </a:moveTo>
                  <a:cubicBezTo>
                    <a:pt x="1467" y="845"/>
                    <a:pt x="1467" y="845"/>
                    <a:pt x="1467" y="845"/>
                  </a:cubicBezTo>
                  <a:cubicBezTo>
                    <a:pt x="1467" y="732"/>
                    <a:pt x="1467" y="732"/>
                    <a:pt x="1467" y="732"/>
                  </a:cubicBezTo>
                  <a:cubicBezTo>
                    <a:pt x="1423" y="732"/>
                    <a:pt x="1423" y="732"/>
                    <a:pt x="1423" y="732"/>
                  </a:cubicBezTo>
                  <a:cubicBezTo>
                    <a:pt x="1423" y="845"/>
                    <a:pt x="1423" y="845"/>
                    <a:pt x="1423" y="845"/>
                  </a:cubicBezTo>
                  <a:cubicBezTo>
                    <a:pt x="1287" y="845"/>
                    <a:pt x="1287" y="845"/>
                    <a:pt x="1287" y="845"/>
                  </a:cubicBezTo>
                  <a:cubicBezTo>
                    <a:pt x="1275" y="845"/>
                    <a:pt x="1265" y="855"/>
                    <a:pt x="1265" y="867"/>
                  </a:cubicBezTo>
                  <a:cubicBezTo>
                    <a:pt x="1265" y="1003"/>
                    <a:pt x="1265" y="1003"/>
                    <a:pt x="1265" y="1003"/>
                  </a:cubicBezTo>
                  <a:cubicBezTo>
                    <a:pt x="1272" y="1002"/>
                    <a:pt x="1280" y="1002"/>
                    <a:pt x="1287" y="1002"/>
                  </a:cubicBezTo>
                  <a:cubicBezTo>
                    <a:pt x="1295" y="1002"/>
                    <a:pt x="1302" y="1002"/>
                    <a:pt x="1309" y="1003"/>
                  </a:cubicBezTo>
                  <a:cubicBezTo>
                    <a:pt x="1309" y="889"/>
                    <a:pt x="1309" y="889"/>
                    <a:pt x="1309" y="889"/>
                  </a:cubicBezTo>
                  <a:cubicBezTo>
                    <a:pt x="1580" y="889"/>
                    <a:pt x="1580" y="889"/>
                    <a:pt x="1580" y="889"/>
                  </a:cubicBezTo>
                  <a:cubicBezTo>
                    <a:pt x="1580" y="1003"/>
                    <a:pt x="1580" y="1003"/>
                    <a:pt x="1580" y="1003"/>
                  </a:cubicBezTo>
                  <a:cubicBezTo>
                    <a:pt x="1587" y="1002"/>
                    <a:pt x="1594" y="1002"/>
                    <a:pt x="1602" y="1002"/>
                  </a:cubicBezTo>
                  <a:cubicBezTo>
                    <a:pt x="1609" y="1002"/>
                    <a:pt x="1617" y="1002"/>
                    <a:pt x="1624" y="1003"/>
                  </a:cubicBezTo>
                  <a:cubicBezTo>
                    <a:pt x="1624" y="867"/>
                    <a:pt x="1624" y="867"/>
                    <a:pt x="1624" y="867"/>
                  </a:cubicBezTo>
                  <a:cubicBezTo>
                    <a:pt x="1624" y="855"/>
                    <a:pt x="1614" y="845"/>
                    <a:pt x="1602" y="845"/>
                  </a:cubicBezTo>
                  <a:close/>
                  <a:moveTo>
                    <a:pt x="1445" y="114"/>
                  </a:moveTo>
                  <a:cubicBezTo>
                    <a:pt x="834" y="114"/>
                    <a:pt x="834" y="114"/>
                    <a:pt x="834" y="114"/>
                  </a:cubicBezTo>
                  <a:cubicBezTo>
                    <a:pt x="834" y="0"/>
                    <a:pt x="834" y="0"/>
                    <a:pt x="834" y="0"/>
                  </a:cubicBezTo>
                  <a:cubicBezTo>
                    <a:pt x="827" y="1"/>
                    <a:pt x="819" y="1"/>
                    <a:pt x="812" y="1"/>
                  </a:cubicBezTo>
                  <a:cubicBezTo>
                    <a:pt x="805" y="1"/>
                    <a:pt x="797" y="1"/>
                    <a:pt x="790" y="0"/>
                  </a:cubicBezTo>
                  <a:cubicBezTo>
                    <a:pt x="790" y="114"/>
                    <a:pt x="790" y="114"/>
                    <a:pt x="790" y="114"/>
                  </a:cubicBezTo>
                  <a:cubicBezTo>
                    <a:pt x="179" y="114"/>
                    <a:pt x="179" y="114"/>
                    <a:pt x="179" y="114"/>
                  </a:cubicBezTo>
                  <a:cubicBezTo>
                    <a:pt x="167" y="114"/>
                    <a:pt x="157" y="124"/>
                    <a:pt x="157" y="136"/>
                  </a:cubicBezTo>
                  <a:cubicBezTo>
                    <a:pt x="157" y="271"/>
                    <a:pt x="157" y="271"/>
                    <a:pt x="157" y="271"/>
                  </a:cubicBezTo>
                  <a:cubicBezTo>
                    <a:pt x="201" y="271"/>
                    <a:pt x="201" y="271"/>
                    <a:pt x="201" y="271"/>
                  </a:cubicBezTo>
                  <a:cubicBezTo>
                    <a:pt x="201" y="158"/>
                    <a:pt x="201" y="158"/>
                    <a:pt x="201" y="158"/>
                  </a:cubicBezTo>
                  <a:cubicBezTo>
                    <a:pt x="790" y="158"/>
                    <a:pt x="790" y="158"/>
                    <a:pt x="790" y="158"/>
                  </a:cubicBezTo>
                  <a:cubicBezTo>
                    <a:pt x="790" y="271"/>
                    <a:pt x="790" y="271"/>
                    <a:pt x="790" y="271"/>
                  </a:cubicBezTo>
                  <a:cubicBezTo>
                    <a:pt x="834" y="271"/>
                    <a:pt x="834" y="271"/>
                    <a:pt x="834" y="271"/>
                  </a:cubicBezTo>
                  <a:cubicBezTo>
                    <a:pt x="834" y="158"/>
                    <a:pt x="834" y="158"/>
                    <a:pt x="834" y="158"/>
                  </a:cubicBezTo>
                  <a:cubicBezTo>
                    <a:pt x="1423" y="158"/>
                    <a:pt x="1423" y="158"/>
                    <a:pt x="1423" y="158"/>
                  </a:cubicBezTo>
                  <a:cubicBezTo>
                    <a:pt x="1423" y="271"/>
                    <a:pt x="1423" y="271"/>
                    <a:pt x="1423" y="271"/>
                  </a:cubicBezTo>
                  <a:cubicBezTo>
                    <a:pt x="1467" y="271"/>
                    <a:pt x="1467" y="271"/>
                    <a:pt x="1467" y="271"/>
                  </a:cubicBezTo>
                  <a:cubicBezTo>
                    <a:pt x="1467" y="136"/>
                    <a:pt x="1467" y="136"/>
                    <a:pt x="1467" y="136"/>
                  </a:cubicBezTo>
                  <a:cubicBezTo>
                    <a:pt x="1467" y="124"/>
                    <a:pt x="1457" y="114"/>
                    <a:pt x="1445" y="1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7" name="Group 46"/>
          <p:cNvGrpSpPr/>
          <p:nvPr/>
        </p:nvGrpSpPr>
        <p:grpSpPr>
          <a:xfrm>
            <a:off x="6113040" y="2143349"/>
            <a:ext cx="1640659" cy="1640659"/>
            <a:chOff x="6113040" y="1748902"/>
            <a:chExt cx="1640659" cy="1640659"/>
          </a:xfrm>
        </p:grpSpPr>
        <p:sp>
          <p:nvSpPr>
            <p:cNvPr id="44" name="Oval 43"/>
            <p:cNvSpPr>
              <a:spLocks noChangeAspect="1"/>
            </p:cNvSpPr>
            <p:nvPr/>
          </p:nvSpPr>
          <p:spPr>
            <a:xfrm>
              <a:off x="6113040" y="1748902"/>
              <a:ext cx="1640659" cy="1640659"/>
            </a:xfrm>
            <a:prstGeom prst="ellipse">
              <a:avLst/>
            </a:prstGeom>
            <a:solidFill>
              <a:srgbClr val="FFFFFF"/>
            </a:solidFill>
            <a:ln w="38100"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grpSp>
          <p:nvGrpSpPr>
            <p:cNvPr id="21" name="Group 20"/>
            <p:cNvGrpSpPr>
              <a:grpSpLocks noChangeAspect="1"/>
            </p:cNvGrpSpPr>
            <p:nvPr/>
          </p:nvGrpSpPr>
          <p:grpSpPr>
            <a:xfrm>
              <a:off x="6309233" y="1945696"/>
              <a:ext cx="1248274" cy="1247070"/>
              <a:chOff x="6464300" y="2606675"/>
              <a:chExt cx="1646238" cy="1644650"/>
            </a:xfrm>
          </p:grpSpPr>
          <p:sp>
            <p:nvSpPr>
              <p:cNvPr id="22" name="AutoShape 15"/>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3" name="Group 22"/>
              <p:cNvGrpSpPr/>
              <p:nvPr/>
            </p:nvGrpSpPr>
            <p:grpSpPr>
              <a:xfrm>
                <a:off x="6635750" y="2963862"/>
                <a:ext cx="1367015" cy="1238250"/>
                <a:chOff x="6635750" y="2963862"/>
                <a:chExt cx="1367015" cy="1238250"/>
              </a:xfrm>
            </p:grpSpPr>
            <p:sp>
              <p:nvSpPr>
                <p:cNvPr id="24" name="Freeform 23"/>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5" name="Freeform 24"/>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5" name="Group 4"/>
          <p:cNvGrpSpPr/>
          <p:nvPr/>
        </p:nvGrpSpPr>
        <p:grpSpPr>
          <a:xfrm>
            <a:off x="8017791" y="2143349"/>
            <a:ext cx="1640659" cy="1640659"/>
            <a:chOff x="8017791" y="1748902"/>
            <a:chExt cx="1640659" cy="1640659"/>
          </a:xfrm>
        </p:grpSpPr>
        <p:sp>
          <p:nvSpPr>
            <p:cNvPr id="45" name="Oval 44"/>
            <p:cNvSpPr>
              <a:spLocks noChangeAspect="1"/>
            </p:cNvSpPr>
            <p:nvPr/>
          </p:nvSpPr>
          <p:spPr>
            <a:xfrm>
              <a:off x="8017791" y="1748902"/>
              <a:ext cx="1640659" cy="1640659"/>
            </a:xfrm>
            <a:prstGeom prst="ellipse">
              <a:avLst/>
            </a:prstGeom>
            <a:solidFill>
              <a:srgbClr val="FFFFFF"/>
            </a:solidFill>
            <a:ln w="38100"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grpSp>
          <p:nvGrpSpPr>
            <p:cNvPr id="32" name="bcgIcons_BandAid">
              <a:extLst>
                <a:ext uri="{FF2B5EF4-FFF2-40B4-BE49-F238E27FC236}">
                  <a16:creationId xmlns:a16="http://schemas.microsoft.com/office/drawing/2014/main" id="{1DA21194-E877-4C0B-9D80-795D78B174FC}"/>
                </a:ext>
              </a:extLst>
            </p:cNvPr>
            <p:cNvGrpSpPr>
              <a:grpSpLocks noChangeAspect="1"/>
            </p:cNvGrpSpPr>
            <p:nvPr/>
          </p:nvGrpSpPr>
          <p:grpSpPr bwMode="auto">
            <a:xfrm>
              <a:off x="8214682" y="1945215"/>
              <a:ext cx="1246877" cy="1248033"/>
              <a:chOff x="1682" y="0"/>
              <a:chExt cx="4316" cy="4320"/>
            </a:xfrm>
          </p:grpSpPr>
          <p:sp>
            <p:nvSpPr>
              <p:cNvPr id="33" name="AutoShape 42">
                <a:extLst>
                  <a:ext uri="{FF2B5EF4-FFF2-40B4-BE49-F238E27FC236}">
                    <a16:creationId xmlns:a16="http://schemas.microsoft.com/office/drawing/2014/main" id="{004FB93C-2D32-4381-A945-6B9FB6FCEBC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44">
                <a:extLst>
                  <a:ext uri="{FF2B5EF4-FFF2-40B4-BE49-F238E27FC236}">
                    <a16:creationId xmlns:a16="http://schemas.microsoft.com/office/drawing/2014/main" id="{13A293F7-261A-42CF-A37E-CD5815112407}"/>
                  </a:ext>
                </a:extLst>
              </p:cNvPr>
              <p:cNvSpPr>
                <a:spLocks noEditPoints="1"/>
              </p:cNvSpPr>
              <p:nvPr/>
            </p:nvSpPr>
            <p:spPr bwMode="auto">
              <a:xfrm>
                <a:off x="2143" y="407"/>
                <a:ext cx="3396" cy="3446"/>
              </a:xfrm>
              <a:custGeom>
                <a:avLst/>
                <a:gdLst>
                  <a:gd name="T0" fmla="*/ 1256 w 1813"/>
                  <a:gd name="T1" fmla="*/ 1121 h 1838"/>
                  <a:gd name="T2" fmla="*/ 1168 w 1813"/>
                  <a:gd name="T3" fmla="*/ 1187 h 1838"/>
                  <a:gd name="T4" fmla="*/ 1102 w 1813"/>
                  <a:gd name="T5" fmla="*/ 1298 h 1838"/>
                  <a:gd name="T6" fmla="*/ 1392 w 1813"/>
                  <a:gd name="T7" fmla="*/ 1169 h 1838"/>
                  <a:gd name="T8" fmla="*/ 1392 w 1813"/>
                  <a:gd name="T9" fmla="*/ 1169 h 1838"/>
                  <a:gd name="T10" fmla="*/ 1304 w 1813"/>
                  <a:gd name="T11" fmla="*/ 1258 h 1838"/>
                  <a:gd name="T12" fmla="*/ 1238 w 1813"/>
                  <a:gd name="T13" fmla="*/ 1324 h 1838"/>
                  <a:gd name="T14" fmla="*/ 1151 w 1813"/>
                  <a:gd name="T15" fmla="*/ 1435 h 1838"/>
                  <a:gd name="T16" fmla="*/ 1440 w 1813"/>
                  <a:gd name="T17" fmla="*/ 1306 h 1838"/>
                  <a:gd name="T18" fmla="*/ 1440 w 1813"/>
                  <a:gd name="T19" fmla="*/ 1306 h 1838"/>
                  <a:gd name="T20" fmla="*/ 1352 w 1813"/>
                  <a:gd name="T21" fmla="*/ 1395 h 1838"/>
                  <a:gd name="T22" fmla="*/ 1287 w 1813"/>
                  <a:gd name="T23" fmla="*/ 1461 h 1838"/>
                  <a:gd name="T24" fmla="*/ 1647 w 1813"/>
                  <a:gd name="T25" fmla="*/ 1492 h 1838"/>
                  <a:gd name="T26" fmla="*/ 1559 w 1813"/>
                  <a:gd name="T27" fmla="*/ 1580 h 1838"/>
                  <a:gd name="T28" fmla="*/ 1559 w 1813"/>
                  <a:gd name="T29" fmla="*/ 1580 h 1838"/>
                  <a:gd name="T30" fmla="*/ 1449 w 1813"/>
                  <a:gd name="T31" fmla="*/ 1646 h 1838"/>
                  <a:gd name="T32" fmla="*/ 1598 w 1813"/>
                  <a:gd name="T33" fmla="*/ 1332 h 1838"/>
                  <a:gd name="T34" fmla="*/ 1511 w 1813"/>
                  <a:gd name="T35" fmla="*/ 1421 h 1838"/>
                  <a:gd name="T36" fmla="*/ 1400 w 1813"/>
                  <a:gd name="T37" fmla="*/ 1532 h 1838"/>
                  <a:gd name="T38" fmla="*/ 1400 w 1813"/>
                  <a:gd name="T39" fmla="*/ 1532 h 1838"/>
                  <a:gd name="T40" fmla="*/ 1313 w 1813"/>
                  <a:gd name="T41" fmla="*/ 1598 h 1838"/>
                  <a:gd name="T42" fmla="*/ 365 w 1813"/>
                  <a:gd name="T43" fmla="*/ 199 h 1838"/>
                  <a:gd name="T44" fmla="*/ 277 w 1813"/>
                  <a:gd name="T45" fmla="*/ 288 h 1838"/>
                  <a:gd name="T46" fmla="*/ 167 w 1813"/>
                  <a:gd name="T47" fmla="*/ 399 h 1838"/>
                  <a:gd name="T48" fmla="*/ 167 w 1813"/>
                  <a:gd name="T49" fmla="*/ 399 h 1838"/>
                  <a:gd name="T50" fmla="*/ 479 w 1813"/>
                  <a:gd name="T51" fmla="*/ 248 h 1838"/>
                  <a:gd name="T52" fmla="*/ 391 w 1813"/>
                  <a:gd name="T53" fmla="*/ 336 h 1838"/>
                  <a:gd name="T54" fmla="*/ 326 w 1813"/>
                  <a:gd name="T55" fmla="*/ 447 h 1838"/>
                  <a:gd name="T56" fmla="*/ 216 w 1813"/>
                  <a:gd name="T57" fmla="*/ 536 h 1838"/>
                  <a:gd name="T58" fmla="*/ 216 w 1813"/>
                  <a:gd name="T59" fmla="*/ 536 h 1838"/>
                  <a:gd name="T60" fmla="*/ 527 w 1813"/>
                  <a:gd name="T61" fmla="*/ 385 h 1838"/>
                  <a:gd name="T62" fmla="*/ 439 w 1813"/>
                  <a:gd name="T63" fmla="*/ 473 h 1838"/>
                  <a:gd name="T64" fmla="*/ 374 w 1813"/>
                  <a:gd name="T65" fmla="*/ 584 h 1838"/>
                  <a:gd name="T66" fmla="*/ 712 w 1813"/>
                  <a:gd name="T67" fmla="*/ 593 h 1838"/>
                  <a:gd name="T68" fmla="*/ 712 w 1813"/>
                  <a:gd name="T69" fmla="*/ 593 h 1838"/>
                  <a:gd name="T70" fmla="*/ 624 w 1813"/>
                  <a:gd name="T71" fmla="*/ 681 h 1838"/>
                  <a:gd name="T72" fmla="*/ 558 w 1813"/>
                  <a:gd name="T73" fmla="*/ 747 h 1838"/>
                  <a:gd name="T74" fmla="*/ 686 w 1813"/>
                  <a:gd name="T75" fmla="*/ 456 h 1838"/>
                  <a:gd name="T76" fmla="*/ 598 w 1813"/>
                  <a:gd name="T77" fmla="*/ 544 h 1838"/>
                  <a:gd name="T78" fmla="*/ 598 w 1813"/>
                  <a:gd name="T79" fmla="*/ 544 h 1838"/>
                  <a:gd name="T80" fmla="*/ 488 w 1813"/>
                  <a:gd name="T81" fmla="*/ 610 h 1838"/>
                  <a:gd name="T82" fmla="*/ 422 w 1813"/>
                  <a:gd name="T83" fmla="*/ 699 h 1838"/>
                  <a:gd name="T84" fmla="*/ 446 w 1813"/>
                  <a:gd name="T85" fmla="*/ 887 h 1838"/>
                  <a:gd name="T86" fmla="*/ 165 w 1813"/>
                  <a:gd name="T87" fmla="*/ 150 h 1838"/>
                  <a:gd name="T88" fmla="*/ 571 w 1813"/>
                  <a:gd name="T89" fmla="*/ 119 h 1838"/>
                  <a:gd name="T90" fmla="*/ 96 w 1813"/>
                  <a:gd name="T91" fmla="*/ 598 h 1838"/>
                  <a:gd name="T92" fmla="*/ 1691 w 1813"/>
                  <a:gd name="T93" fmla="*/ 1305 h 1838"/>
                  <a:gd name="T94" fmla="*/ 1275 w 1813"/>
                  <a:gd name="T95" fmla="*/ 1718 h 1838"/>
                  <a:gd name="T96" fmla="*/ 1462 w 1813"/>
                  <a:gd name="T97" fmla="*/ 1838 h 1838"/>
                  <a:gd name="T98" fmla="*/ 1722 w 1813"/>
                  <a:gd name="T99" fmla="*/ 1274 h 1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13" h="1838">
                    <a:moveTo>
                      <a:pt x="1256" y="1098"/>
                    </a:moveTo>
                    <a:cubicBezTo>
                      <a:pt x="1262" y="1092"/>
                      <a:pt x="1272" y="1092"/>
                      <a:pt x="1278" y="1098"/>
                    </a:cubicBezTo>
                    <a:cubicBezTo>
                      <a:pt x="1284" y="1104"/>
                      <a:pt x="1284" y="1114"/>
                      <a:pt x="1278" y="1121"/>
                    </a:cubicBezTo>
                    <a:cubicBezTo>
                      <a:pt x="1272" y="1127"/>
                      <a:pt x="1262" y="1127"/>
                      <a:pt x="1256" y="1121"/>
                    </a:cubicBezTo>
                    <a:cubicBezTo>
                      <a:pt x="1250" y="1114"/>
                      <a:pt x="1250" y="1104"/>
                      <a:pt x="1256" y="1098"/>
                    </a:cubicBezTo>
                    <a:close/>
                    <a:moveTo>
                      <a:pt x="1190" y="1209"/>
                    </a:moveTo>
                    <a:cubicBezTo>
                      <a:pt x="1196" y="1203"/>
                      <a:pt x="1196" y="1193"/>
                      <a:pt x="1190" y="1187"/>
                    </a:cubicBezTo>
                    <a:cubicBezTo>
                      <a:pt x="1184" y="1181"/>
                      <a:pt x="1174" y="1181"/>
                      <a:pt x="1168" y="1187"/>
                    </a:cubicBezTo>
                    <a:cubicBezTo>
                      <a:pt x="1162" y="1193"/>
                      <a:pt x="1162" y="1203"/>
                      <a:pt x="1168" y="1209"/>
                    </a:cubicBezTo>
                    <a:cubicBezTo>
                      <a:pt x="1174" y="1215"/>
                      <a:pt x="1184" y="1215"/>
                      <a:pt x="1190" y="1209"/>
                    </a:cubicBezTo>
                    <a:close/>
                    <a:moveTo>
                      <a:pt x="1080" y="1298"/>
                    </a:moveTo>
                    <a:cubicBezTo>
                      <a:pt x="1086" y="1304"/>
                      <a:pt x="1096" y="1304"/>
                      <a:pt x="1102" y="1298"/>
                    </a:cubicBezTo>
                    <a:cubicBezTo>
                      <a:pt x="1109" y="1291"/>
                      <a:pt x="1109" y="1281"/>
                      <a:pt x="1102" y="1275"/>
                    </a:cubicBezTo>
                    <a:cubicBezTo>
                      <a:pt x="1096" y="1269"/>
                      <a:pt x="1086" y="1269"/>
                      <a:pt x="1080" y="1275"/>
                    </a:cubicBezTo>
                    <a:cubicBezTo>
                      <a:pt x="1074" y="1281"/>
                      <a:pt x="1074" y="1291"/>
                      <a:pt x="1080" y="1298"/>
                    </a:cubicBezTo>
                    <a:close/>
                    <a:moveTo>
                      <a:pt x="1392" y="1169"/>
                    </a:moveTo>
                    <a:cubicBezTo>
                      <a:pt x="1398" y="1175"/>
                      <a:pt x="1408" y="1175"/>
                      <a:pt x="1414" y="1169"/>
                    </a:cubicBezTo>
                    <a:cubicBezTo>
                      <a:pt x="1420" y="1163"/>
                      <a:pt x="1420" y="1153"/>
                      <a:pt x="1414" y="1147"/>
                    </a:cubicBezTo>
                    <a:cubicBezTo>
                      <a:pt x="1408" y="1141"/>
                      <a:pt x="1398" y="1141"/>
                      <a:pt x="1392" y="1147"/>
                    </a:cubicBezTo>
                    <a:cubicBezTo>
                      <a:pt x="1386" y="1153"/>
                      <a:pt x="1386" y="1163"/>
                      <a:pt x="1392" y="1169"/>
                    </a:cubicBezTo>
                    <a:close/>
                    <a:moveTo>
                      <a:pt x="1326" y="1258"/>
                    </a:moveTo>
                    <a:cubicBezTo>
                      <a:pt x="1332" y="1251"/>
                      <a:pt x="1332" y="1241"/>
                      <a:pt x="1326" y="1235"/>
                    </a:cubicBezTo>
                    <a:cubicBezTo>
                      <a:pt x="1320" y="1229"/>
                      <a:pt x="1310" y="1229"/>
                      <a:pt x="1304" y="1235"/>
                    </a:cubicBezTo>
                    <a:cubicBezTo>
                      <a:pt x="1298" y="1241"/>
                      <a:pt x="1298" y="1251"/>
                      <a:pt x="1304" y="1258"/>
                    </a:cubicBezTo>
                    <a:cubicBezTo>
                      <a:pt x="1310" y="1264"/>
                      <a:pt x="1320" y="1264"/>
                      <a:pt x="1326" y="1258"/>
                    </a:cubicBezTo>
                    <a:close/>
                    <a:moveTo>
                      <a:pt x="1216" y="1346"/>
                    </a:moveTo>
                    <a:cubicBezTo>
                      <a:pt x="1222" y="1352"/>
                      <a:pt x="1232" y="1352"/>
                      <a:pt x="1238" y="1346"/>
                    </a:cubicBezTo>
                    <a:cubicBezTo>
                      <a:pt x="1245" y="1340"/>
                      <a:pt x="1245" y="1330"/>
                      <a:pt x="1238" y="1324"/>
                    </a:cubicBezTo>
                    <a:cubicBezTo>
                      <a:pt x="1232" y="1318"/>
                      <a:pt x="1222" y="1318"/>
                      <a:pt x="1216" y="1324"/>
                    </a:cubicBezTo>
                    <a:cubicBezTo>
                      <a:pt x="1210" y="1330"/>
                      <a:pt x="1210" y="1340"/>
                      <a:pt x="1216" y="1346"/>
                    </a:cubicBezTo>
                    <a:close/>
                    <a:moveTo>
                      <a:pt x="1128" y="1435"/>
                    </a:moveTo>
                    <a:cubicBezTo>
                      <a:pt x="1135" y="1441"/>
                      <a:pt x="1144" y="1441"/>
                      <a:pt x="1151" y="1435"/>
                    </a:cubicBezTo>
                    <a:cubicBezTo>
                      <a:pt x="1157" y="1429"/>
                      <a:pt x="1157" y="1418"/>
                      <a:pt x="1151" y="1412"/>
                    </a:cubicBezTo>
                    <a:cubicBezTo>
                      <a:pt x="1144" y="1406"/>
                      <a:pt x="1135" y="1406"/>
                      <a:pt x="1128" y="1412"/>
                    </a:cubicBezTo>
                    <a:cubicBezTo>
                      <a:pt x="1122" y="1418"/>
                      <a:pt x="1122" y="1429"/>
                      <a:pt x="1128" y="1435"/>
                    </a:cubicBezTo>
                    <a:close/>
                    <a:moveTo>
                      <a:pt x="1440" y="1306"/>
                    </a:moveTo>
                    <a:cubicBezTo>
                      <a:pt x="1446" y="1312"/>
                      <a:pt x="1456" y="1312"/>
                      <a:pt x="1462" y="1306"/>
                    </a:cubicBezTo>
                    <a:cubicBezTo>
                      <a:pt x="1469" y="1300"/>
                      <a:pt x="1469" y="1290"/>
                      <a:pt x="1462" y="1284"/>
                    </a:cubicBezTo>
                    <a:cubicBezTo>
                      <a:pt x="1456" y="1278"/>
                      <a:pt x="1446" y="1278"/>
                      <a:pt x="1440" y="1284"/>
                    </a:cubicBezTo>
                    <a:cubicBezTo>
                      <a:pt x="1434" y="1290"/>
                      <a:pt x="1434" y="1300"/>
                      <a:pt x="1440" y="1306"/>
                    </a:cubicBezTo>
                    <a:close/>
                    <a:moveTo>
                      <a:pt x="1375" y="1395"/>
                    </a:moveTo>
                    <a:cubicBezTo>
                      <a:pt x="1381" y="1388"/>
                      <a:pt x="1381" y="1378"/>
                      <a:pt x="1375" y="1372"/>
                    </a:cubicBezTo>
                    <a:cubicBezTo>
                      <a:pt x="1368" y="1366"/>
                      <a:pt x="1358" y="1366"/>
                      <a:pt x="1352" y="1372"/>
                    </a:cubicBezTo>
                    <a:cubicBezTo>
                      <a:pt x="1346" y="1378"/>
                      <a:pt x="1346" y="1388"/>
                      <a:pt x="1352" y="1395"/>
                    </a:cubicBezTo>
                    <a:cubicBezTo>
                      <a:pt x="1358" y="1401"/>
                      <a:pt x="1368" y="1401"/>
                      <a:pt x="1375" y="1395"/>
                    </a:cubicBezTo>
                    <a:close/>
                    <a:moveTo>
                      <a:pt x="1264" y="1483"/>
                    </a:moveTo>
                    <a:cubicBezTo>
                      <a:pt x="1271" y="1489"/>
                      <a:pt x="1281" y="1489"/>
                      <a:pt x="1287" y="1483"/>
                    </a:cubicBezTo>
                    <a:cubicBezTo>
                      <a:pt x="1293" y="1477"/>
                      <a:pt x="1293" y="1467"/>
                      <a:pt x="1287" y="1461"/>
                    </a:cubicBezTo>
                    <a:cubicBezTo>
                      <a:pt x="1281" y="1455"/>
                      <a:pt x="1271" y="1455"/>
                      <a:pt x="1264" y="1461"/>
                    </a:cubicBezTo>
                    <a:cubicBezTo>
                      <a:pt x="1258" y="1467"/>
                      <a:pt x="1258" y="1477"/>
                      <a:pt x="1264" y="1483"/>
                    </a:cubicBezTo>
                    <a:close/>
                    <a:moveTo>
                      <a:pt x="1624" y="1492"/>
                    </a:moveTo>
                    <a:cubicBezTo>
                      <a:pt x="1631" y="1498"/>
                      <a:pt x="1640" y="1498"/>
                      <a:pt x="1647" y="1492"/>
                    </a:cubicBezTo>
                    <a:cubicBezTo>
                      <a:pt x="1653" y="1486"/>
                      <a:pt x="1653" y="1476"/>
                      <a:pt x="1647" y="1469"/>
                    </a:cubicBezTo>
                    <a:cubicBezTo>
                      <a:pt x="1640" y="1463"/>
                      <a:pt x="1631" y="1463"/>
                      <a:pt x="1624" y="1469"/>
                    </a:cubicBezTo>
                    <a:cubicBezTo>
                      <a:pt x="1618" y="1476"/>
                      <a:pt x="1618" y="1486"/>
                      <a:pt x="1624" y="1492"/>
                    </a:cubicBezTo>
                    <a:close/>
                    <a:moveTo>
                      <a:pt x="1559" y="1580"/>
                    </a:moveTo>
                    <a:cubicBezTo>
                      <a:pt x="1565" y="1574"/>
                      <a:pt x="1565" y="1564"/>
                      <a:pt x="1559" y="1558"/>
                    </a:cubicBezTo>
                    <a:cubicBezTo>
                      <a:pt x="1553" y="1552"/>
                      <a:pt x="1543" y="1552"/>
                      <a:pt x="1537" y="1558"/>
                    </a:cubicBezTo>
                    <a:cubicBezTo>
                      <a:pt x="1530" y="1564"/>
                      <a:pt x="1530" y="1574"/>
                      <a:pt x="1537" y="1580"/>
                    </a:cubicBezTo>
                    <a:cubicBezTo>
                      <a:pt x="1543" y="1586"/>
                      <a:pt x="1553" y="1586"/>
                      <a:pt x="1559" y="1580"/>
                    </a:cubicBezTo>
                    <a:close/>
                    <a:moveTo>
                      <a:pt x="1449" y="1669"/>
                    </a:moveTo>
                    <a:cubicBezTo>
                      <a:pt x="1455" y="1675"/>
                      <a:pt x="1465" y="1675"/>
                      <a:pt x="1471" y="1669"/>
                    </a:cubicBezTo>
                    <a:cubicBezTo>
                      <a:pt x="1477" y="1663"/>
                      <a:pt x="1477" y="1653"/>
                      <a:pt x="1471" y="1646"/>
                    </a:cubicBezTo>
                    <a:cubicBezTo>
                      <a:pt x="1465" y="1640"/>
                      <a:pt x="1455" y="1640"/>
                      <a:pt x="1449" y="1646"/>
                    </a:cubicBezTo>
                    <a:cubicBezTo>
                      <a:pt x="1443" y="1653"/>
                      <a:pt x="1443" y="1663"/>
                      <a:pt x="1449" y="1669"/>
                    </a:cubicBezTo>
                    <a:close/>
                    <a:moveTo>
                      <a:pt x="1576" y="1355"/>
                    </a:moveTo>
                    <a:cubicBezTo>
                      <a:pt x="1582" y="1361"/>
                      <a:pt x="1592" y="1361"/>
                      <a:pt x="1598" y="1355"/>
                    </a:cubicBezTo>
                    <a:cubicBezTo>
                      <a:pt x="1605" y="1348"/>
                      <a:pt x="1605" y="1338"/>
                      <a:pt x="1598" y="1332"/>
                    </a:cubicBezTo>
                    <a:cubicBezTo>
                      <a:pt x="1592" y="1326"/>
                      <a:pt x="1582" y="1326"/>
                      <a:pt x="1576" y="1332"/>
                    </a:cubicBezTo>
                    <a:cubicBezTo>
                      <a:pt x="1570" y="1338"/>
                      <a:pt x="1570" y="1348"/>
                      <a:pt x="1576" y="1355"/>
                    </a:cubicBezTo>
                    <a:close/>
                    <a:moveTo>
                      <a:pt x="1511" y="1443"/>
                    </a:moveTo>
                    <a:cubicBezTo>
                      <a:pt x="1517" y="1437"/>
                      <a:pt x="1517" y="1427"/>
                      <a:pt x="1511" y="1421"/>
                    </a:cubicBezTo>
                    <a:cubicBezTo>
                      <a:pt x="1504" y="1415"/>
                      <a:pt x="1495" y="1415"/>
                      <a:pt x="1488" y="1421"/>
                    </a:cubicBezTo>
                    <a:cubicBezTo>
                      <a:pt x="1482" y="1427"/>
                      <a:pt x="1482" y="1437"/>
                      <a:pt x="1488" y="1443"/>
                    </a:cubicBezTo>
                    <a:cubicBezTo>
                      <a:pt x="1495" y="1449"/>
                      <a:pt x="1504" y="1449"/>
                      <a:pt x="1511" y="1443"/>
                    </a:cubicBezTo>
                    <a:close/>
                    <a:moveTo>
                      <a:pt x="1400" y="1532"/>
                    </a:moveTo>
                    <a:cubicBezTo>
                      <a:pt x="1407" y="1538"/>
                      <a:pt x="1417" y="1538"/>
                      <a:pt x="1423" y="1532"/>
                    </a:cubicBezTo>
                    <a:cubicBezTo>
                      <a:pt x="1429" y="1526"/>
                      <a:pt x="1429" y="1516"/>
                      <a:pt x="1423" y="1509"/>
                    </a:cubicBezTo>
                    <a:cubicBezTo>
                      <a:pt x="1417" y="1503"/>
                      <a:pt x="1407" y="1503"/>
                      <a:pt x="1400" y="1509"/>
                    </a:cubicBezTo>
                    <a:cubicBezTo>
                      <a:pt x="1394" y="1516"/>
                      <a:pt x="1394" y="1526"/>
                      <a:pt x="1400" y="1532"/>
                    </a:cubicBezTo>
                    <a:close/>
                    <a:moveTo>
                      <a:pt x="1313" y="1620"/>
                    </a:moveTo>
                    <a:cubicBezTo>
                      <a:pt x="1319" y="1626"/>
                      <a:pt x="1329" y="1626"/>
                      <a:pt x="1335" y="1620"/>
                    </a:cubicBezTo>
                    <a:cubicBezTo>
                      <a:pt x="1341" y="1614"/>
                      <a:pt x="1341" y="1604"/>
                      <a:pt x="1335" y="1598"/>
                    </a:cubicBezTo>
                    <a:cubicBezTo>
                      <a:pt x="1329" y="1592"/>
                      <a:pt x="1319" y="1592"/>
                      <a:pt x="1313" y="1598"/>
                    </a:cubicBezTo>
                    <a:cubicBezTo>
                      <a:pt x="1306" y="1604"/>
                      <a:pt x="1306" y="1614"/>
                      <a:pt x="1313" y="1620"/>
                    </a:cubicBezTo>
                    <a:close/>
                    <a:moveTo>
                      <a:pt x="343" y="222"/>
                    </a:moveTo>
                    <a:cubicBezTo>
                      <a:pt x="349" y="228"/>
                      <a:pt x="359" y="228"/>
                      <a:pt x="365" y="222"/>
                    </a:cubicBezTo>
                    <a:cubicBezTo>
                      <a:pt x="371" y="215"/>
                      <a:pt x="371" y="205"/>
                      <a:pt x="365" y="199"/>
                    </a:cubicBezTo>
                    <a:cubicBezTo>
                      <a:pt x="359" y="193"/>
                      <a:pt x="349" y="193"/>
                      <a:pt x="343" y="199"/>
                    </a:cubicBezTo>
                    <a:cubicBezTo>
                      <a:pt x="337" y="205"/>
                      <a:pt x="337" y="215"/>
                      <a:pt x="343" y="222"/>
                    </a:cubicBezTo>
                    <a:close/>
                    <a:moveTo>
                      <a:pt x="277" y="310"/>
                    </a:moveTo>
                    <a:cubicBezTo>
                      <a:pt x="284" y="304"/>
                      <a:pt x="284" y="294"/>
                      <a:pt x="277" y="288"/>
                    </a:cubicBezTo>
                    <a:cubicBezTo>
                      <a:pt x="271" y="282"/>
                      <a:pt x="261" y="282"/>
                      <a:pt x="255" y="288"/>
                    </a:cubicBezTo>
                    <a:cubicBezTo>
                      <a:pt x="249" y="294"/>
                      <a:pt x="249" y="304"/>
                      <a:pt x="255" y="310"/>
                    </a:cubicBezTo>
                    <a:cubicBezTo>
                      <a:pt x="261" y="316"/>
                      <a:pt x="271" y="316"/>
                      <a:pt x="277" y="310"/>
                    </a:cubicBezTo>
                    <a:close/>
                    <a:moveTo>
                      <a:pt x="167" y="399"/>
                    </a:moveTo>
                    <a:cubicBezTo>
                      <a:pt x="174" y="405"/>
                      <a:pt x="183" y="405"/>
                      <a:pt x="190" y="399"/>
                    </a:cubicBezTo>
                    <a:cubicBezTo>
                      <a:pt x="196" y="392"/>
                      <a:pt x="196" y="382"/>
                      <a:pt x="190" y="376"/>
                    </a:cubicBezTo>
                    <a:cubicBezTo>
                      <a:pt x="183" y="370"/>
                      <a:pt x="174" y="370"/>
                      <a:pt x="167" y="376"/>
                    </a:cubicBezTo>
                    <a:cubicBezTo>
                      <a:pt x="161" y="382"/>
                      <a:pt x="161" y="392"/>
                      <a:pt x="167" y="399"/>
                    </a:cubicBezTo>
                    <a:close/>
                    <a:moveTo>
                      <a:pt x="479" y="270"/>
                    </a:moveTo>
                    <a:cubicBezTo>
                      <a:pt x="485" y="276"/>
                      <a:pt x="495" y="276"/>
                      <a:pt x="501" y="270"/>
                    </a:cubicBezTo>
                    <a:cubicBezTo>
                      <a:pt x="508" y="264"/>
                      <a:pt x="508" y="254"/>
                      <a:pt x="501" y="248"/>
                    </a:cubicBezTo>
                    <a:cubicBezTo>
                      <a:pt x="495" y="242"/>
                      <a:pt x="485" y="242"/>
                      <a:pt x="479" y="248"/>
                    </a:cubicBezTo>
                    <a:cubicBezTo>
                      <a:pt x="473" y="254"/>
                      <a:pt x="473" y="264"/>
                      <a:pt x="479" y="270"/>
                    </a:cubicBezTo>
                    <a:close/>
                    <a:moveTo>
                      <a:pt x="414" y="359"/>
                    </a:moveTo>
                    <a:cubicBezTo>
                      <a:pt x="420" y="352"/>
                      <a:pt x="420" y="342"/>
                      <a:pt x="414" y="336"/>
                    </a:cubicBezTo>
                    <a:cubicBezTo>
                      <a:pt x="407" y="330"/>
                      <a:pt x="397" y="330"/>
                      <a:pt x="391" y="336"/>
                    </a:cubicBezTo>
                    <a:cubicBezTo>
                      <a:pt x="385" y="342"/>
                      <a:pt x="385" y="352"/>
                      <a:pt x="391" y="359"/>
                    </a:cubicBezTo>
                    <a:cubicBezTo>
                      <a:pt x="397" y="365"/>
                      <a:pt x="407" y="365"/>
                      <a:pt x="414" y="359"/>
                    </a:cubicBezTo>
                    <a:close/>
                    <a:moveTo>
                      <a:pt x="303" y="447"/>
                    </a:moveTo>
                    <a:cubicBezTo>
                      <a:pt x="310" y="453"/>
                      <a:pt x="319" y="453"/>
                      <a:pt x="326" y="447"/>
                    </a:cubicBezTo>
                    <a:cubicBezTo>
                      <a:pt x="332" y="441"/>
                      <a:pt x="332" y="431"/>
                      <a:pt x="326" y="425"/>
                    </a:cubicBezTo>
                    <a:cubicBezTo>
                      <a:pt x="319" y="419"/>
                      <a:pt x="310" y="419"/>
                      <a:pt x="303" y="425"/>
                    </a:cubicBezTo>
                    <a:cubicBezTo>
                      <a:pt x="297" y="431"/>
                      <a:pt x="297" y="441"/>
                      <a:pt x="303" y="447"/>
                    </a:cubicBezTo>
                    <a:close/>
                    <a:moveTo>
                      <a:pt x="216" y="536"/>
                    </a:moveTo>
                    <a:cubicBezTo>
                      <a:pt x="222" y="542"/>
                      <a:pt x="232" y="542"/>
                      <a:pt x="238" y="536"/>
                    </a:cubicBezTo>
                    <a:cubicBezTo>
                      <a:pt x="244" y="530"/>
                      <a:pt x="244" y="520"/>
                      <a:pt x="238" y="513"/>
                    </a:cubicBezTo>
                    <a:cubicBezTo>
                      <a:pt x="232" y="507"/>
                      <a:pt x="222" y="507"/>
                      <a:pt x="216" y="513"/>
                    </a:cubicBezTo>
                    <a:cubicBezTo>
                      <a:pt x="209" y="520"/>
                      <a:pt x="209" y="530"/>
                      <a:pt x="216" y="536"/>
                    </a:cubicBezTo>
                    <a:close/>
                    <a:moveTo>
                      <a:pt x="527" y="407"/>
                    </a:moveTo>
                    <a:cubicBezTo>
                      <a:pt x="533" y="413"/>
                      <a:pt x="543" y="413"/>
                      <a:pt x="550" y="407"/>
                    </a:cubicBezTo>
                    <a:cubicBezTo>
                      <a:pt x="556" y="401"/>
                      <a:pt x="556" y="391"/>
                      <a:pt x="550" y="385"/>
                    </a:cubicBezTo>
                    <a:cubicBezTo>
                      <a:pt x="543" y="379"/>
                      <a:pt x="533" y="379"/>
                      <a:pt x="527" y="385"/>
                    </a:cubicBezTo>
                    <a:cubicBezTo>
                      <a:pt x="521" y="391"/>
                      <a:pt x="521" y="401"/>
                      <a:pt x="527" y="407"/>
                    </a:cubicBezTo>
                    <a:close/>
                    <a:moveTo>
                      <a:pt x="462" y="496"/>
                    </a:moveTo>
                    <a:cubicBezTo>
                      <a:pt x="468" y="490"/>
                      <a:pt x="468" y="480"/>
                      <a:pt x="462" y="473"/>
                    </a:cubicBezTo>
                    <a:cubicBezTo>
                      <a:pt x="456" y="467"/>
                      <a:pt x="446" y="467"/>
                      <a:pt x="439" y="473"/>
                    </a:cubicBezTo>
                    <a:cubicBezTo>
                      <a:pt x="433" y="480"/>
                      <a:pt x="433" y="490"/>
                      <a:pt x="439" y="496"/>
                    </a:cubicBezTo>
                    <a:cubicBezTo>
                      <a:pt x="446" y="502"/>
                      <a:pt x="456" y="502"/>
                      <a:pt x="462" y="496"/>
                    </a:cubicBezTo>
                    <a:close/>
                    <a:moveTo>
                      <a:pt x="352" y="584"/>
                    </a:moveTo>
                    <a:cubicBezTo>
                      <a:pt x="358" y="590"/>
                      <a:pt x="368" y="590"/>
                      <a:pt x="374" y="584"/>
                    </a:cubicBezTo>
                    <a:cubicBezTo>
                      <a:pt x="380" y="578"/>
                      <a:pt x="380" y="568"/>
                      <a:pt x="374" y="562"/>
                    </a:cubicBezTo>
                    <a:cubicBezTo>
                      <a:pt x="368" y="556"/>
                      <a:pt x="358" y="556"/>
                      <a:pt x="352" y="562"/>
                    </a:cubicBezTo>
                    <a:cubicBezTo>
                      <a:pt x="345" y="568"/>
                      <a:pt x="345" y="578"/>
                      <a:pt x="352" y="584"/>
                    </a:cubicBezTo>
                    <a:close/>
                    <a:moveTo>
                      <a:pt x="712" y="593"/>
                    </a:moveTo>
                    <a:cubicBezTo>
                      <a:pt x="718" y="599"/>
                      <a:pt x="728" y="599"/>
                      <a:pt x="734" y="593"/>
                    </a:cubicBezTo>
                    <a:cubicBezTo>
                      <a:pt x="740" y="587"/>
                      <a:pt x="740" y="577"/>
                      <a:pt x="734" y="570"/>
                    </a:cubicBezTo>
                    <a:cubicBezTo>
                      <a:pt x="728" y="564"/>
                      <a:pt x="718" y="564"/>
                      <a:pt x="712" y="570"/>
                    </a:cubicBezTo>
                    <a:cubicBezTo>
                      <a:pt x="705" y="577"/>
                      <a:pt x="705" y="587"/>
                      <a:pt x="712" y="593"/>
                    </a:cubicBezTo>
                    <a:close/>
                    <a:moveTo>
                      <a:pt x="646" y="681"/>
                    </a:moveTo>
                    <a:cubicBezTo>
                      <a:pt x="652" y="675"/>
                      <a:pt x="652" y="665"/>
                      <a:pt x="646" y="659"/>
                    </a:cubicBezTo>
                    <a:cubicBezTo>
                      <a:pt x="640" y="653"/>
                      <a:pt x="630" y="653"/>
                      <a:pt x="624" y="659"/>
                    </a:cubicBezTo>
                    <a:cubicBezTo>
                      <a:pt x="618" y="665"/>
                      <a:pt x="618" y="675"/>
                      <a:pt x="624" y="681"/>
                    </a:cubicBezTo>
                    <a:cubicBezTo>
                      <a:pt x="630" y="687"/>
                      <a:pt x="640" y="687"/>
                      <a:pt x="646" y="681"/>
                    </a:cubicBezTo>
                    <a:close/>
                    <a:moveTo>
                      <a:pt x="536" y="770"/>
                    </a:moveTo>
                    <a:cubicBezTo>
                      <a:pt x="542" y="776"/>
                      <a:pt x="552" y="776"/>
                      <a:pt x="558" y="770"/>
                    </a:cubicBezTo>
                    <a:cubicBezTo>
                      <a:pt x="564" y="764"/>
                      <a:pt x="564" y="754"/>
                      <a:pt x="558" y="747"/>
                    </a:cubicBezTo>
                    <a:cubicBezTo>
                      <a:pt x="552" y="741"/>
                      <a:pt x="542" y="741"/>
                      <a:pt x="536" y="747"/>
                    </a:cubicBezTo>
                    <a:cubicBezTo>
                      <a:pt x="530" y="754"/>
                      <a:pt x="530" y="764"/>
                      <a:pt x="536" y="770"/>
                    </a:cubicBezTo>
                    <a:close/>
                    <a:moveTo>
                      <a:pt x="663" y="456"/>
                    </a:moveTo>
                    <a:cubicBezTo>
                      <a:pt x="670" y="462"/>
                      <a:pt x="679" y="462"/>
                      <a:pt x="686" y="456"/>
                    </a:cubicBezTo>
                    <a:cubicBezTo>
                      <a:pt x="692" y="450"/>
                      <a:pt x="692" y="439"/>
                      <a:pt x="686" y="433"/>
                    </a:cubicBezTo>
                    <a:cubicBezTo>
                      <a:pt x="679" y="427"/>
                      <a:pt x="670" y="427"/>
                      <a:pt x="663" y="433"/>
                    </a:cubicBezTo>
                    <a:cubicBezTo>
                      <a:pt x="657" y="439"/>
                      <a:pt x="657" y="450"/>
                      <a:pt x="663" y="456"/>
                    </a:cubicBezTo>
                    <a:close/>
                    <a:moveTo>
                      <a:pt x="598" y="544"/>
                    </a:moveTo>
                    <a:cubicBezTo>
                      <a:pt x="604" y="538"/>
                      <a:pt x="604" y="528"/>
                      <a:pt x="598" y="522"/>
                    </a:cubicBezTo>
                    <a:cubicBezTo>
                      <a:pt x="592" y="516"/>
                      <a:pt x="582" y="516"/>
                      <a:pt x="576" y="522"/>
                    </a:cubicBezTo>
                    <a:cubicBezTo>
                      <a:pt x="569" y="528"/>
                      <a:pt x="569" y="538"/>
                      <a:pt x="576" y="544"/>
                    </a:cubicBezTo>
                    <a:cubicBezTo>
                      <a:pt x="582" y="550"/>
                      <a:pt x="592" y="550"/>
                      <a:pt x="598" y="544"/>
                    </a:cubicBezTo>
                    <a:close/>
                    <a:moveTo>
                      <a:pt x="488" y="633"/>
                    </a:moveTo>
                    <a:cubicBezTo>
                      <a:pt x="494" y="639"/>
                      <a:pt x="504" y="639"/>
                      <a:pt x="510" y="633"/>
                    </a:cubicBezTo>
                    <a:cubicBezTo>
                      <a:pt x="516" y="627"/>
                      <a:pt x="516" y="617"/>
                      <a:pt x="510" y="610"/>
                    </a:cubicBezTo>
                    <a:cubicBezTo>
                      <a:pt x="504" y="604"/>
                      <a:pt x="494" y="604"/>
                      <a:pt x="488" y="610"/>
                    </a:cubicBezTo>
                    <a:cubicBezTo>
                      <a:pt x="482" y="617"/>
                      <a:pt x="482" y="627"/>
                      <a:pt x="488" y="633"/>
                    </a:cubicBezTo>
                    <a:close/>
                    <a:moveTo>
                      <a:pt x="400" y="721"/>
                    </a:moveTo>
                    <a:cubicBezTo>
                      <a:pt x="406" y="727"/>
                      <a:pt x="416" y="727"/>
                      <a:pt x="422" y="721"/>
                    </a:cubicBezTo>
                    <a:cubicBezTo>
                      <a:pt x="428" y="715"/>
                      <a:pt x="428" y="705"/>
                      <a:pt x="422" y="699"/>
                    </a:cubicBezTo>
                    <a:cubicBezTo>
                      <a:pt x="416" y="693"/>
                      <a:pt x="406" y="693"/>
                      <a:pt x="400" y="699"/>
                    </a:cubicBezTo>
                    <a:cubicBezTo>
                      <a:pt x="394" y="705"/>
                      <a:pt x="394" y="715"/>
                      <a:pt x="400" y="721"/>
                    </a:cubicBezTo>
                    <a:close/>
                    <a:moveTo>
                      <a:pt x="415" y="918"/>
                    </a:moveTo>
                    <a:cubicBezTo>
                      <a:pt x="446" y="887"/>
                      <a:pt x="446" y="887"/>
                      <a:pt x="446" y="887"/>
                    </a:cubicBezTo>
                    <a:cubicBezTo>
                      <a:pt x="127" y="567"/>
                      <a:pt x="127" y="567"/>
                      <a:pt x="127" y="567"/>
                    </a:cubicBezTo>
                    <a:cubicBezTo>
                      <a:pt x="76" y="516"/>
                      <a:pt x="47" y="450"/>
                      <a:pt x="46" y="382"/>
                    </a:cubicBezTo>
                    <a:cubicBezTo>
                      <a:pt x="45" y="310"/>
                      <a:pt x="72" y="243"/>
                      <a:pt x="123" y="192"/>
                    </a:cubicBezTo>
                    <a:cubicBezTo>
                      <a:pt x="165" y="150"/>
                      <a:pt x="165" y="150"/>
                      <a:pt x="165" y="150"/>
                    </a:cubicBezTo>
                    <a:cubicBezTo>
                      <a:pt x="268" y="48"/>
                      <a:pt x="436" y="48"/>
                      <a:pt x="539" y="150"/>
                    </a:cubicBezTo>
                    <a:cubicBezTo>
                      <a:pt x="861" y="473"/>
                      <a:pt x="861" y="473"/>
                      <a:pt x="861" y="473"/>
                    </a:cubicBezTo>
                    <a:cubicBezTo>
                      <a:pt x="892" y="442"/>
                      <a:pt x="892" y="442"/>
                      <a:pt x="892" y="442"/>
                    </a:cubicBezTo>
                    <a:cubicBezTo>
                      <a:pt x="571" y="119"/>
                      <a:pt x="571" y="119"/>
                      <a:pt x="571" y="119"/>
                    </a:cubicBezTo>
                    <a:cubicBezTo>
                      <a:pt x="450" y="0"/>
                      <a:pt x="255" y="0"/>
                      <a:pt x="134" y="119"/>
                    </a:cubicBezTo>
                    <a:cubicBezTo>
                      <a:pt x="92" y="161"/>
                      <a:pt x="92" y="161"/>
                      <a:pt x="92" y="161"/>
                    </a:cubicBezTo>
                    <a:cubicBezTo>
                      <a:pt x="33" y="220"/>
                      <a:pt x="0" y="299"/>
                      <a:pt x="2" y="383"/>
                    </a:cubicBezTo>
                    <a:cubicBezTo>
                      <a:pt x="3" y="463"/>
                      <a:pt x="37" y="539"/>
                      <a:pt x="96" y="598"/>
                    </a:cubicBezTo>
                    <a:lnTo>
                      <a:pt x="415" y="918"/>
                    </a:lnTo>
                    <a:close/>
                    <a:moveTo>
                      <a:pt x="1399" y="950"/>
                    </a:moveTo>
                    <a:cubicBezTo>
                      <a:pt x="1368" y="981"/>
                      <a:pt x="1368" y="981"/>
                      <a:pt x="1368" y="981"/>
                    </a:cubicBezTo>
                    <a:cubicBezTo>
                      <a:pt x="1691" y="1305"/>
                      <a:pt x="1691" y="1305"/>
                      <a:pt x="1691" y="1305"/>
                    </a:cubicBezTo>
                    <a:cubicBezTo>
                      <a:pt x="1742" y="1355"/>
                      <a:pt x="1769" y="1423"/>
                      <a:pt x="1768" y="1494"/>
                    </a:cubicBezTo>
                    <a:cubicBezTo>
                      <a:pt x="1767" y="1563"/>
                      <a:pt x="1738" y="1629"/>
                      <a:pt x="1687" y="1680"/>
                    </a:cubicBezTo>
                    <a:cubicBezTo>
                      <a:pt x="1649" y="1718"/>
                      <a:pt x="1649" y="1718"/>
                      <a:pt x="1649" y="1718"/>
                    </a:cubicBezTo>
                    <a:cubicBezTo>
                      <a:pt x="1546" y="1820"/>
                      <a:pt x="1378" y="1820"/>
                      <a:pt x="1275" y="1718"/>
                    </a:cubicBezTo>
                    <a:cubicBezTo>
                      <a:pt x="953" y="1395"/>
                      <a:pt x="953" y="1395"/>
                      <a:pt x="953" y="1395"/>
                    </a:cubicBezTo>
                    <a:cubicBezTo>
                      <a:pt x="922" y="1426"/>
                      <a:pt x="922" y="1426"/>
                      <a:pt x="922" y="1426"/>
                    </a:cubicBezTo>
                    <a:cubicBezTo>
                      <a:pt x="1243" y="1749"/>
                      <a:pt x="1243" y="1749"/>
                      <a:pt x="1243" y="1749"/>
                    </a:cubicBezTo>
                    <a:cubicBezTo>
                      <a:pt x="1304" y="1809"/>
                      <a:pt x="1383" y="1838"/>
                      <a:pt x="1462" y="1838"/>
                    </a:cubicBezTo>
                    <a:cubicBezTo>
                      <a:pt x="1541" y="1838"/>
                      <a:pt x="1620" y="1809"/>
                      <a:pt x="1680" y="1749"/>
                    </a:cubicBezTo>
                    <a:cubicBezTo>
                      <a:pt x="1718" y="1711"/>
                      <a:pt x="1718" y="1711"/>
                      <a:pt x="1718" y="1711"/>
                    </a:cubicBezTo>
                    <a:cubicBezTo>
                      <a:pt x="1777" y="1652"/>
                      <a:pt x="1811" y="1575"/>
                      <a:pt x="1812" y="1495"/>
                    </a:cubicBezTo>
                    <a:cubicBezTo>
                      <a:pt x="1813" y="1411"/>
                      <a:pt x="1781" y="1333"/>
                      <a:pt x="1722" y="1274"/>
                    </a:cubicBezTo>
                    <a:lnTo>
                      <a:pt x="1399" y="95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45">
                <a:extLst>
                  <a:ext uri="{FF2B5EF4-FFF2-40B4-BE49-F238E27FC236}">
                    <a16:creationId xmlns:a16="http://schemas.microsoft.com/office/drawing/2014/main" id="{913B8694-FEEC-4EA7-93E0-68E952486ECF}"/>
                  </a:ext>
                </a:extLst>
              </p:cNvPr>
              <p:cNvSpPr>
                <a:spLocks noEditPoints="1"/>
              </p:cNvSpPr>
              <p:nvPr/>
            </p:nvSpPr>
            <p:spPr bwMode="auto">
              <a:xfrm>
                <a:off x="2137" y="501"/>
                <a:ext cx="3410" cy="3315"/>
              </a:xfrm>
              <a:custGeom>
                <a:avLst/>
                <a:gdLst>
                  <a:gd name="T0" fmla="*/ 1471 w 1820"/>
                  <a:gd name="T1" fmla="*/ 1 h 1768"/>
                  <a:gd name="T2" fmla="*/ 111 w 1820"/>
                  <a:gd name="T3" fmla="*/ 1641 h 1768"/>
                  <a:gd name="T4" fmla="*/ 559 w 1820"/>
                  <a:gd name="T5" fmla="*/ 1679 h 1768"/>
                  <a:gd name="T6" fmla="*/ 1215 w 1820"/>
                  <a:gd name="T7" fmla="*/ 476 h 1768"/>
                  <a:gd name="T8" fmla="*/ 1215 w 1820"/>
                  <a:gd name="T9" fmla="*/ 498 h 1768"/>
                  <a:gd name="T10" fmla="*/ 1189 w 1820"/>
                  <a:gd name="T11" fmla="*/ 613 h 1768"/>
                  <a:gd name="T12" fmla="*/ 1167 w 1820"/>
                  <a:gd name="T13" fmla="*/ 613 h 1768"/>
                  <a:gd name="T14" fmla="*/ 1150 w 1820"/>
                  <a:gd name="T15" fmla="*/ 410 h 1768"/>
                  <a:gd name="T16" fmla="*/ 1079 w 1820"/>
                  <a:gd name="T17" fmla="*/ 524 h 1768"/>
                  <a:gd name="T18" fmla="*/ 1079 w 1820"/>
                  <a:gd name="T19" fmla="*/ 547 h 1768"/>
                  <a:gd name="T20" fmla="*/ 174 w 1820"/>
                  <a:gd name="T21" fmla="*/ 1438 h 1768"/>
                  <a:gd name="T22" fmla="*/ 197 w 1820"/>
                  <a:gd name="T23" fmla="*/ 1438 h 1768"/>
                  <a:gd name="T24" fmla="*/ 223 w 1820"/>
                  <a:gd name="T25" fmla="*/ 1278 h 1768"/>
                  <a:gd name="T26" fmla="*/ 284 w 1820"/>
                  <a:gd name="T27" fmla="*/ 1526 h 1768"/>
                  <a:gd name="T28" fmla="*/ 284 w 1820"/>
                  <a:gd name="T29" fmla="*/ 1504 h 1768"/>
                  <a:gd name="T30" fmla="*/ 310 w 1820"/>
                  <a:gd name="T31" fmla="*/ 1389 h 1768"/>
                  <a:gd name="T32" fmla="*/ 333 w 1820"/>
                  <a:gd name="T33" fmla="*/ 1389 h 1768"/>
                  <a:gd name="T34" fmla="*/ 350 w 1820"/>
                  <a:gd name="T35" fmla="*/ 1592 h 1768"/>
                  <a:gd name="T36" fmla="*/ 381 w 1820"/>
                  <a:gd name="T37" fmla="*/ 1252 h 1768"/>
                  <a:gd name="T38" fmla="*/ 381 w 1820"/>
                  <a:gd name="T39" fmla="*/ 1230 h 1768"/>
                  <a:gd name="T40" fmla="*/ 398 w 1820"/>
                  <a:gd name="T41" fmla="*/ 1478 h 1768"/>
                  <a:gd name="T42" fmla="*/ 421 w 1820"/>
                  <a:gd name="T43" fmla="*/ 1478 h 1768"/>
                  <a:gd name="T44" fmla="*/ 407 w 1820"/>
                  <a:gd name="T45" fmla="*/ 1093 h 1768"/>
                  <a:gd name="T46" fmla="*/ 469 w 1820"/>
                  <a:gd name="T47" fmla="*/ 1341 h 1768"/>
                  <a:gd name="T48" fmla="*/ 469 w 1820"/>
                  <a:gd name="T49" fmla="*/ 1318 h 1768"/>
                  <a:gd name="T50" fmla="*/ 486 w 1820"/>
                  <a:gd name="T51" fmla="*/ 1566 h 1768"/>
                  <a:gd name="T52" fmla="*/ 508 w 1820"/>
                  <a:gd name="T53" fmla="*/ 1566 h 1768"/>
                  <a:gd name="T54" fmla="*/ 495 w 1820"/>
                  <a:gd name="T55" fmla="*/ 1181 h 1768"/>
                  <a:gd name="T56" fmla="*/ 557 w 1820"/>
                  <a:gd name="T57" fmla="*/ 1429 h 1768"/>
                  <a:gd name="T58" fmla="*/ 557 w 1820"/>
                  <a:gd name="T59" fmla="*/ 1407 h 1768"/>
                  <a:gd name="T60" fmla="*/ 543 w 1820"/>
                  <a:gd name="T61" fmla="*/ 1067 h 1768"/>
                  <a:gd name="T62" fmla="*/ 565 w 1820"/>
                  <a:gd name="T63" fmla="*/ 1067 h 1768"/>
                  <a:gd name="T64" fmla="*/ 583 w 1820"/>
                  <a:gd name="T65" fmla="*/ 1270 h 1768"/>
                  <a:gd name="T66" fmla="*/ 653 w 1820"/>
                  <a:gd name="T67" fmla="*/ 1155 h 1768"/>
                  <a:gd name="T68" fmla="*/ 653 w 1820"/>
                  <a:gd name="T69" fmla="*/ 1133 h 1768"/>
                  <a:gd name="T70" fmla="*/ 670 w 1820"/>
                  <a:gd name="T71" fmla="*/ 1381 h 1768"/>
                  <a:gd name="T72" fmla="*/ 693 w 1820"/>
                  <a:gd name="T73" fmla="*/ 1381 h 1768"/>
                  <a:gd name="T74" fmla="*/ 719 w 1820"/>
                  <a:gd name="T75" fmla="*/ 1221 h 1768"/>
                  <a:gd name="T76" fmla="*/ 1239 w 1820"/>
                  <a:gd name="T77" fmla="*/ 876 h 1768"/>
                  <a:gd name="T78" fmla="*/ 607 w 1820"/>
                  <a:gd name="T79" fmla="*/ 934 h 1768"/>
                  <a:gd name="T80" fmla="*/ 980 w 1820"/>
                  <a:gd name="T81" fmla="*/ 558 h 1768"/>
                  <a:gd name="T82" fmla="*/ 1277 w 1820"/>
                  <a:gd name="T83" fmla="*/ 724 h 1768"/>
                  <a:gd name="T84" fmla="*/ 1277 w 1820"/>
                  <a:gd name="T85" fmla="*/ 701 h 1768"/>
                  <a:gd name="T86" fmla="*/ 1263 w 1820"/>
                  <a:gd name="T87" fmla="*/ 361 h 1768"/>
                  <a:gd name="T88" fmla="*/ 1286 w 1820"/>
                  <a:gd name="T89" fmla="*/ 361 h 1768"/>
                  <a:gd name="T90" fmla="*/ 1303 w 1820"/>
                  <a:gd name="T91" fmla="*/ 564 h 1768"/>
                  <a:gd name="T92" fmla="*/ 1334 w 1820"/>
                  <a:gd name="T93" fmla="*/ 224 h 1768"/>
                  <a:gd name="T94" fmla="*/ 1334 w 1820"/>
                  <a:gd name="T95" fmla="*/ 202 h 1768"/>
                  <a:gd name="T96" fmla="*/ 1351 w 1820"/>
                  <a:gd name="T97" fmla="*/ 450 h 1768"/>
                  <a:gd name="T98" fmla="*/ 1374 w 1820"/>
                  <a:gd name="T99" fmla="*/ 450 h 1768"/>
                  <a:gd name="T100" fmla="*/ 1391 w 1820"/>
                  <a:gd name="T101" fmla="*/ 653 h 1768"/>
                  <a:gd name="T102" fmla="*/ 1422 w 1820"/>
                  <a:gd name="T103" fmla="*/ 313 h 1768"/>
                  <a:gd name="T104" fmla="*/ 1422 w 1820"/>
                  <a:gd name="T105" fmla="*/ 290 h 1768"/>
                  <a:gd name="T106" fmla="*/ 1439 w 1820"/>
                  <a:gd name="T107" fmla="*/ 538 h 1768"/>
                  <a:gd name="T108" fmla="*/ 1461 w 1820"/>
                  <a:gd name="T109" fmla="*/ 538 h 1768"/>
                  <a:gd name="T110" fmla="*/ 1448 w 1820"/>
                  <a:gd name="T111" fmla="*/ 153 h 1768"/>
                  <a:gd name="T112" fmla="*/ 1510 w 1820"/>
                  <a:gd name="T113" fmla="*/ 401 h 1768"/>
                  <a:gd name="T114" fmla="*/ 1510 w 1820"/>
                  <a:gd name="T115" fmla="*/ 379 h 1768"/>
                  <a:gd name="T116" fmla="*/ 1536 w 1820"/>
                  <a:gd name="T117" fmla="*/ 264 h 1768"/>
                  <a:gd name="T118" fmla="*/ 1558 w 1820"/>
                  <a:gd name="T119" fmla="*/ 264 h 1768"/>
                  <a:gd name="T120" fmla="*/ 1575 w 1820"/>
                  <a:gd name="T121" fmla="*/ 467 h 1768"/>
                  <a:gd name="T122" fmla="*/ 1646 w 1820"/>
                  <a:gd name="T123" fmla="*/ 353 h 1768"/>
                  <a:gd name="T124" fmla="*/ 1646 w 1820"/>
                  <a:gd name="T125" fmla="*/ 330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1768">
                    <a:moveTo>
                      <a:pt x="1709" y="127"/>
                    </a:moveTo>
                    <a:cubicBezTo>
                      <a:pt x="1672" y="89"/>
                      <a:pt x="1672" y="89"/>
                      <a:pt x="1672" y="89"/>
                    </a:cubicBezTo>
                    <a:cubicBezTo>
                      <a:pt x="1618" y="35"/>
                      <a:pt x="1546" y="2"/>
                      <a:pt x="1471" y="1"/>
                    </a:cubicBezTo>
                    <a:cubicBezTo>
                      <a:pt x="1393" y="0"/>
                      <a:pt x="1320" y="30"/>
                      <a:pt x="1265" y="85"/>
                    </a:cubicBezTo>
                    <a:cubicBezTo>
                      <a:pt x="111" y="1236"/>
                      <a:pt x="111" y="1236"/>
                      <a:pt x="111" y="1236"/>
                    </a:cubicBezTo>
                    <a:cubicBezTo>
                      <a:pt x="0" y="1348"/>
                      <a:pt x="0" y="1529"/>
                      <a:pt x="111" y="1641"/>
                    </a:cubicBezTo>
                    <a:cubicBezTo>
                      <a:pt x="152" y="1683"/>
                      <a:pt x="152" y="1683"/>
                      <a:pt x="152" y="1683"/>
                    </a:cubicBezTo>
                    <a:cubicBezTo>
                      <a:pt x="207" y="1739"/>
                      <a:pt x="281" y="1768"/>
                      <a:pt x="358" y="1767"/>
                    </a:cubicBezTo>
                    <a:cubicBezTo>
                      <a:pt x="434" y="1766"/>
                      <a:pt x="505" y="1733"/>
                      <a:pt x="559" y="1679"/>
                    </a:cubicBezTo>
                    <a:cubicBezTo>
                      <a:pt x="1709" y="532"/>
                      <a:pt x="1709" y="532"/>
                      <a:pt x="1709" y="532"/>
                    </a:cubicBezTo>
                    <a:cubicBezTo>
                      <a:pt x="1820" y="420"/>
                      <a:pt x="1820" y="239"/>
                      <a:pt x="1709" y="127"/>
                    </a:cubicBezTo>
                    <a:close/>
                    <a:moveTo>
                      <a:pt x="1215" y="476"/>
                    </a:moveTo>
                    <a:cubicBezTo>
                      <a:pt x="1221" y="470"/>
                      <a:pt x="1231" y="470"/>
                      <a:pt x="1237" y="476"/>
                    </a:cubicBezTo>
                    <a:cubicBezTo>
                      <a:pt x="1244" y="482"/>
                      <a:pt x="1244" y="492"/>
                      <a:pt x="1237" y="498"/>
                    </a:cubicBezTo>
                    <a:cubicBezTo>
                      <a:pt x="1231" y="504"/>
                      <a:pt x="1221" y="504"/>
                      <a:pt x="1215" y="498"/>
                    </a:cubicBezTo>
                    <a:cubicBezTo>
                      <a:pt x="1209" y="492"/>
                      <a:pt x="1209" y="482"/>
                      <a:pt x="1215" y="476"/>
                    </a:cubicBezTo>
                    <a:close/>
                    <a:moveTo>
                      <a:pt x="1167" y="613"/>
                    </a:moveTo>
                    <a:cubicBezTo>
                      <a:pt x="1173" y="607"/>
                      <a:pt x="1183" y="607"/>
                      <a:pt x="1189" y="613"/>
                    </a:cubicBezTo>
                    <a:cubicBezTo>
                      <a:pt x="1195" y="619"/>
                      <a:pt x="1195" y="629"/>
                      <a:pt x="1189" y="635"/>
                    </a:cubicBezTo>
                    <a:cubicBezTo>
                      <a:pt x="1183" y="641"/>
                      <a:pt x="1173" y="641"/>
                      <a:pt x="1167" y="635"/>
                    </a:cubicBezTo>
                    <a:cubicBezTo>
                      <a:pt x="1161" y="629"/>
                      <a:pt x="1161" y="619"/>
                      <a:pt x="1167" y="613"/>
                    </a:cubicBezTo>
                    <a:close/>
                    <a:moveTo>
                      <a:pt x="1127" y="387"/>
                    </a:moveTo>
                    <a:cubicBezTo>
                      <a:pt x="1134" y="381"/>
                      <a:pt x="1143" y="381"/>
                      <a:pt x="1150" y="387"/>
                    </a:cubicBezTo>
                    <a:cubicBezTo>
                      <a:pt x="1156" y="394"/>
                      <a:pt x="1156" y="404"/>
                      <a:pt x="1150" y="410"/>
                    </a:cubicBezTo>
                    <a:cubicBezTo>
                      <a:pt x="1143" y="416"/>
                      <a:pt x="1134" y="416"/>
                      <a:pt x="1127" y="410"/>
                    </a:cubicBezTo>
                    <a:cubicBezTo>
                      <a:pt x="1121" y="404"/>
                      <a:pt x="1121" y="394"/>
                      <a:pt x="1127" y="387"/>
                    </a:cubicBezTo>
                    <a:close/>
                    <a:moveTo>
                      <a:pt x="1079" y="524"/>
                    </a:moveTo>
                    <a:cubicBezTo>
                      <a:pt x="1085" y="518"/>
                      <a:pt x="1095" y="518"/>
                      <a:pt x="1101" y="524"/>
                    </a:cubicBezTo>
                    <a:cubicBezTo>
                      <a:pt x="1108" y="531"/>
                      <a:pt x="1108" y="541"/>
                      <a:pt x="1101" y="547"/>
                    </a:cubicBezTo>
                    <a:cubicBezTo>
                      <a:pt x="1095" y="553"/>
                      <a:pt x="1085" y="553"/>
                      <a:pt x="1079" y="547"/>
                    </a:cubicBezTo>
                    <a:cubicBezTo>
                      <a:pt x="1073" y="541"/>
                      <a:pt x="1073" y="531"/>
                      <a:pt x="1079" y="524"/>
                    </a:cubicBezTo>
                    <a:close/>
                    <a:moveTo>
                      <a:pt x="197" y="1438"/>
                    </a:moveTo>
                    <a:cubicBezTo>
                      <a:pt x="190" y="1444"/>
                      <a:pt x="181" y="1444"/>
                      <a:pt x="174" y="1438"/>
                    </a:cubicBezTo>
                    <a:cubicBezTo>
                      <a:pt x="168" y="1432"/>
                      <a:pt x="168" y="1422"/>
                      <a:pt x="174" y="1415"/>
                    </a:cubicBezTo>
                    <a:cubicBezTo>
                      <a:pt x="181" y="1409"/>
                      <a:pt x="190" y="1409"/>
                      <a:pt x="197" y="1415"/>
                    </a:cubicBezTo>
                    <a:cubicBezTo>
                      <a:pt x="203" y="1422"/>
                      <a:pt x="203" y="1432"/>
                      <a:pt x="197" y="1438"/>
                    </a:cubicBezTo>
                    <a:close/>
                    <a:moveTo>
                      <a:pt x="245" y="1301"/>
                    </a:moveTo>
                    <a:cubicBezTo>
                      <a:pt x="239" y="1307"/>
                      <a:pt x="229" y="1307"/>
                      <a:pt x="223" y="1301"/>
                    </a:cubicBezTo>
                    <a:cubicBezTo>
                      <a:pt x="216" y="1294"/>
                      <a:pt x="216" y="1284"/>
                      <a:pt x="223" y="1278"/>
                    </a:cubicBezTo>
                    <a:cubicBezTo>
                      <a:pt x="229" y="1272"/>
                      <a:pt x="239" y="1272"/>
                      <a:pt x="245" y="1278"/>
                    </a:cubicBezTo>
                    <a:cubicBezTo>
                      <a:pt x="251" y="1284"/>
                      <a:pt x="251" y="1294"/>
                      <a:pt x="245" y="1301"/>
                    </a:cubicBezTo>
                    <a:close/>
                    <a:moveTo>
                      <a:pt x="284" y="1526"/>
                    </a:moveTo>
                    <a:cubicBezTo>
                      <a:pt x="278" y="1532"/>
                      <a:pt x="268" y="1532"/>
                      <a:pt x="262" y="1526"/>
                    </a:cubicBezTo>
                    <a:cubicBezTo>
                      <a:pt x="256" y="1520"/>
                      <a:pt x="256" y="1510"/>
                      <a:pt x="262" y="1504"/>
                    </a:cubicBezTo>
                    <a:cubicBezTo>
                      <a:pt x="268" y="1498"/>
                      <a:pt x="278" y="1498"/>
                      <a:pt x="284" y="1504"/>
                    </a:cubicBezTo>
                    <a:cubicBezTo>
                      <a:pt x="291" y="1510"/>
                      <a:pt x="291" y="1520"/>
                      <a:pt x="284" y="1526"/>
                    </a:cubicBezTo>
                    <a:close/>
                    <a:moveTo>
                      <a:pt x="333" y="1389"/>
                    </a:moveTo>
                    <a:cubicBezTo>
                      <a:pt x="326" y="1395"/>
                      <a:pt x="317" y="1395"/>
                      <a:pt x="310" y="1389"/>
                    </a:cubicBezTo>
                    <a:cubicBezTo>
                      <a:pt x="304" y="1383"/>
                      <a:pt x="304" y="1373"/>
                      <a:pt x="310" y="1367"/>
                    </a:cubicBezTo>
                    <a:cubicBezTo>
                      <a:pt x="317" y="1361"/>
                      <a:pt x="326" y="1361"/>
                      <a:pt x="333" y="1367"/>
                    </a:cubicBezTo>
                    <a:cubicBezTo>
                      <a:pt x="339" y="1373"/>
                      <a:pt x="339" y="1383"/>
                      <a:pt x="333" y="1389"/>
                    </a:cubicBezTo>
                    <a:close/>
                    <a:moveTo>
                      <a:pt x="372" y="1615"/>
                    </a:moveTo>
                    <a:cubicBezTo>
                      <a:pt x="366" y="1621"/>
                      <a:pt x="356" y="1621"/>
                      <a:pt x="350" y="1615"/>
                    </a:cubicBezTo>
                    <a:cubicBezTo>
                      <a:pt x="344" y="1609"/>
                      <a:pt x="344" y="1599"/>
                      <a:pt x="350" y="1592"/>
                    </a:cubicBezTo>
                    <a:cubicBezTo>
                      <a:pt x="356" y="1586"/>
                      <a:pt x="366" y="1586"/>
                      <a:pt x="372" y="1592"/>
                    </a:cubicBezTo>
                    <a:cubicBezTo>
                      <a:pt x="378" y="1599"/>
                      <a:pt x="378" y="1609"/>
                      <a:pt x="372" y="1615"/>
                    </a:cubicBezTo>
                    <a:close/>
                    <a:moveTo>
                      <a:pt x="381" y="1252"/>
                    </a:moveTo>
                    <a:cubicBezTo>
                      <a:pt x="375" y="1258"/>
                      <a:pt x="365" y="1258"/>
                      <a:pt x="359" y="1252"/>
                    </a:cubicBezTo>
                    <a:cubicBezTo>
                      <a:pt x="352" y="1246"/>
                      <a:pt x="352" y="1236"/>
                      <a:pt x="359" y="1230"/>
                    </a:cubicBezTo>
                    <a:cubicBezTo>
                      <a:pt x="365" y="1224"/>
                      <a:pt x="375" y="1224"/>
                      <a:pt x="381" y="1230"/>
                    </a:cubicBezTo>
                    <a:cubicBezTo>
                      <a:pt x="387" y="1236"/>
                      <a:pt x="387" y="1246"/>
                      <a:pt x="381" y="1252"/>
                    </a:cubicBezTo>
                    <a:close/>
                    <a:moveTo>
                      <a:pt x="421" y="1478"/>
                    </a:moveTo>
                    <a:cubicBezTo>
                      <a:pt x="414" y="1484"/>
                      <a:pt x="404" y="1484"/>
                      <a:pt x="398" y="1478"/>
                    </a:cubicBezTo>
                    <a:cubicBezTo>
                      <a:pt x="392" y="1472"/>
                      <a:pt x="392" y="1462"/>
                      <a:pt x="398" y="1455"/>
                    </a:cubicBezTo>
                    <a:cubicBezTo>
                      <a:pt x="404" y="1449"/>
                      <a:pt x="414" y="1449"/>
                      <a:pt x="421" y="1455"/>
                    </a:cubicBezTo>
                    <a:cubicBezTo>
                      <a:pt x="427" y="1462"/>
                      <a:pt x="427" y="1472"/>
                      <a:pt x="421" y="1478"/>
                    </a:cubicBezTo>
                    <a:close/>
                    <a:moveTo>
                      <a:pt x="429" y="1115"/>
                    </a:moveTo>
                    <a:cubicBezTo>
                      <a:pt x="423" y="1121"/>
                      <a:pt x="413" y="1121"/>
                      <a:pt x="407" y="1115"/>
                    </a:cubicBezTo>
                    <a:cubicBezTo>
                      <a:pt x="401" y="1109"/>
                      <a:pt x="401" y="1099"/>
                      <a:pt x="407" y="1093"/>
                    </a:cubicBezTo>
                    <a:cubicBezTo>
                      <a:pt x="413" y="1087"/>
                      <a:pt x="423" y="1087"/>
                      <a:pt x="429" y="1093"/>
                    </a:cubicBezTo>
                    <a:cubicBezTo>
                      <a:pt x="435" y="1099"/>
                      <a:pt x="435" y="1109"/>
                      <a:pt x="429" y="1115"/>
                    </a:cubicBezTo>
                    <a:close/>
                    <a:moveTo>
                      <a:pt x="469" y="1341"/>
                    </a:moveTo>
                    <a:cubicBezTo>
                      <a:pt x="463" y="1347"/>
                      <a:pt x="453" y="1347"/>
                      <a:pt x="446" y="1341"/>
                    </a:cubicBezTo>
                    <a:cubicBezTo>
                      <a:pt x="440" y="1334"/>
                      <a:pt x="440" y="1324"/>
                      <a:pt x="446" y="1318"/>
                    </a:cubicBezTo>
                    <a:cubicBezTo>
                      <a:pt x="453" y="1312"/>
                      <a:pt x="463" y="1312"/>
                      <a:pt x="469" y="1318"/>
                    </a:cubicBezTo>
                    <a:cubicBezTo>
                      <a:pt x="475" y="1324"/>
                      <a:pt x="475" y="1334"/>
                      <a:pt x="469" y="1341"/>
                    </a:cubicBezTo>
                    <a:close/>
                    <a:moveTo>
                      <a:pt x="508" y="1566"/>
                    </a:moveTo>
                    <a:cubicBezTo>
                      <a:pt x="502" y="1572"/>
                      <a:pt x="492" y="1572"/>
                      <a:pt x="486" y="1566"/>
                    </a:cubicBezTo>
                    <a:cubicBezTo>
                      <a:pt x="480" y="1560"/>
                      <a:pt x="480" y="1550"/>
                      <a:pt x="486" y="1544"/>
                    </a:cubicBezTo>
                    <a:cubicBezTo>
                      <a:pt x="492" y="1538"/>
                      <a:pt x="502" y="1538"/>
                      <a:pt x="508" y="1544"/>
                    </a:cubicBezTo>
                    <a:cubicBezTo>
                      <a:pt x="515" y="1550"/>
                      <a:pt x="515" y="1560"/>
                      <a:pt x="508" y="1566"/>
                    </a:cubicBezTo>
                    <a:close/>
                    <a:moveTo>
                      <a:pt x="517" y="1204"/>
                    </a:moveTo>
                    <a:cubicBezTo>
                      <a:pt x="511" y="1210"/>
                      <a:pt x="501" y="1210"/>
                      <a:pt x="495" y="1204"/>
                    </a:cubicBezTo>
                    <a:cubicBezTo>
                      <a:pt x="489" y="1197"/>
                      <a:pt x="489" y="1187"/>
                      <a:pt x="495" y="1181"/>
                    </a:cubicBezTo>
                    <a:cubicBezTo>
                      <a:pt x="501" y="1175"/>
                      <a:pt x="511" y="1175"/>
                      <a:pt x="517" y="1181"/>
                    </a:cubicBezTo>
                    <a:cubicBezTo>
                      <a:pt x="523" y="1187"/>
                      <a:pt x="523" y="1197"/>
                      <a:pt x="517" y="1204"/>
                    </a:cubicBezTo>
                    <a:close/>
                    <a:moveTo>
                      <a:pt x="557" y="1429"/>
                    </a:moveTo>
                    <a:cubicBezTo>
                      <a:pt x="550" y="1435"/>
                      <a:pt x="540" y="1435"/>
                      <a:pt x="534" y="1429"/>
                    </a:cubicBezTo>
                    <a:cubicBezTo>
                      <a:pt x="528" y="1423"/>
                      <a:pt x="528" y="1413"/>
                      <a:pt x="534" y="1407"/>
                    </a:cubicBezTo>
                    <a:cubicBezTo>
                      <a:pt x="540" y="1401"/>
                      <a:pt x="550" y="1401"/>
                      <a:pt x="557" y="1407"/>
                    </a:cubicBezTo>
                    <a:cubicBezTo>
                      <a:pt x="563" y="1413"/>
                      <a:pt x="563" y="1423"/>
                      <a:pt x="557" y="1429"/>
                    </a:cubicBezTo>
                    <a:close/>
                    <a:moveTo>
                      <a:pt x="565" y="1067"/>
                    </a:moveTo>
                    <a:cubicBezTo>
                      <a:pt x="559" y="1073"/>
                      <a:pt x="549" y="1073"/>
                      <a:pt x="543" y="1067"/>
                    </a:cubicBezTo>
                    <a:cubicBezTo>
                      <a:pt x="537" y="1060"/>
                      <a:pt x="537" y="1050"/>
                      <a:pt x="543" y="1044"/>
                    </a:cubicBezTo>
                    <a:cubicBezTo>
                      <a:pt x="549" y="1038"/>
                      <a:pt x="559" y="1038"/>
                      <a:pt x="565" y="1044"/>
                    </a:cubicBezTo>
                    <a:cubicBezTo>
                      <a:pt x="571" y="1050"/>
                      <a:pt x="571" y="1060"/>
                      <a:pt x="565" y="1067"/>
                    </a:cubicBezTo>
                    <a:close/>
                    <a:moveTo>
                      <a:pt x="605" y="1292"/>
                    </a:moveTo>
                    <a:cubicBezTo>
                      <a:pt x="599" y="1298"/>
                      <a:pt x="589" y="1298"/>
                      <a:pt x="583" y="1292"/>
                    </a:cubicBezTo>
                    <a:cubicBezTo>
                      <a:pt x="576" y="1286"/>
                      <a:pt x="576" y="1276"/>
                      <a:pt x="583" y="1270"/>
                    </a:cubicBezTo>
                    <a:cubicBezTo>
                      <a:pt x="589" y="1264"/>
                      <a:pt x="599" y="1264"/>
                      <a:pt x="605" y="1270"/>
                    </a:cubicBezTo>
                    <a:cubicBezTo>
                      <a:pt x="611" y="1276"/>
                      <a:pt x="611" y="1286"/>
                      <a:pt x="605" y="1292"/>
                    </a:cubicBezTo>
                    <a:close/>
                    <a:moveTo>
                      <a:pt x="653" y="1155"/>
                    </a:moveTo>
                    <a:cubicBezTo>
                      <a:pt x="647" y="1161"/>
                      <a:pt x="637" y="1161"/>
                      <a:pt x="631" y="1155"/>
                    </a:cubicBezTo>
                    <a:cubicBezTo>
                      <a:pt x="625" y="1149"/>
                      <a:pt x="625" y="1139"/>
                      <a:pt x="631" y="1133"/>
                    </a:cubicBezTo>
                    <a:cubicBezTo>
                      <a:pt x="637" y="1127"/>
                      <a:pt x="647" y="1127"/>
                      <a:pt x="653" y="1133"/>
                    </a:cubicBezTo>
                    <a:cubicBezTo>
                      <a:pt x="659" y="1139"/>
                      <a:pt x="659" y="1149"/>
                      <a:pt x="653" y="1155"/>
                    </a:cubicBezTo>
                    <a:close/>
                    <a:moveTo>
                      <a:pt x="693" y="1381"/>
                    </a:moveTo>
                    <a:cubicBezTo>
                      <a:pt x="686" y="1387"/>
                      <a:pt x="677" y="1387"/>
                      <a:pt x="670" y="1381"/>
                    </a:cubicBezTo>
                    <a:cubicBezTo>
                      <a:pt x="664" y="1374"/>
                      <a:pt x="664" y="1364"/>
                      <a:pt x="670" y="1358"/>
                    </a:cubicBezTo>
                    <a:cubicBezTo>
                      <a:pt x="677" y="1352"/>
                      <a:pt x="686" y="1352"/>
                      <a:pt x="693" y="1358"/>
                    </a:cubicBezTo>
                    <a:cubicBezTo>
                      <a:pt x="699" y="1364"/>
                      <a:pt x="699" y="1374"/>
                      <a:pt x="693" y="1381"/>
                    </a:cubicBezTo>
                    <a:close/>
                    <a:moveTo>
                      <a:pt x="741" y="1244"/>
                    </a:moveTo>
                    <a:cubicBezTo>
                      <a:pt x="735" y="1250"/>
                      <a:pt x="725" y="1250"/>
                      <a:pt x="719" y="1244"/>
                    </a:cubicBezTo>
                    <a:cubicBezTo>
                      <a:pt x="712" y="1237"/>
                      <a:pt x="712" y="1227"/>
                      <a:pt x="719" y="1221"/>
                    </a:cubicBezTo>
                    <a:cubicBezTo>
                      <a:pt x="725" y="1215"/>
                      <a:pt x="735" y="1215"/>
                      <a:pt x="741" y="1221"/>
                    </a:cubicBezTo>
                    <a:cubicBezTo>
                      <a:pt x="747" y="1227"/>
                      <a:pt x="747" y="1237"/>
                      <a:pt x="741" y="1244"/>
                    </a:cubicBezTo>
                    <a:close/>
                    <a:moveTo>
                      <a:pt x="1239" y="876"/>
                    </a:moveTo>
                    <a:cubicBezTo>
                      <a:pt x="922" y="1195"/>
                      <a:pt x="922" y="1195"/>
                      <a:pt x="922" y="1195"/>
                    </a:cubicBezTo>
                    <a:cubicBezTo>
                      <a:pt x="906" y="1211"/>
                      <a:pt x="881" y="1211"/>
                      <a:pt x="865" y="1195"/>
                    </a:cubicBezTo>
                    <a:cubicBezTo>
                      <a:pt x="607" y="934"/>
                      <a:pt x="607" y="934"/>
                      <a:pt x="607" y="934"/>
                    </a:cubicBezTo>
                    <a:cubicBezTo>
                      <a:pt x="591" y="919"/>
                      <a:pt x="591" y="893"/>
                      <a:pt x="607" y="877"/>
                    </a:cubicBezTo>
                    <a:cubicBezTo>
                      <a:pt x="923" y="558"/>
                      <a:pt x="923" y="558"/>
                      <a:pt x="923" y="558"/>
                    </a:cubicBezTo>
                    <a:cubicBezTo>
                      <a:pt x="939" y="543"/>
                      <a:pt x="964" y="543"/>
                      <a:pt x="980" y="558"/>
                    </a:cubicBezTo>
                    <a:cubicBezTo>
                      <a:pt x="1239" y="819"/>
                      <a:pt x="1239" y="819"/>
                      <a:pt x="1239" y="819"/>
                    </a:cubicBezTo>
                    <a:cubicBezTo>
                      <a:pt x="1254" y="835"/>
                      <a:pt x="1254" y="860"/>
                      <a:pt x="1239" y="876"/>
                    </a:cubicBezTo>
                    <a:close/>
                    <a:moveTo>
                      <a:pt x="1277" y="724"/>
                    </a:moveTo>
                    <a:cubicBezTo>
                      <a:pt x="1271" y="730"/>
                      <a:pt x="1261" y="730"/>
                      <a:pt x="1255" y="724"/>
                    </a:cubicBezTo>
                    <a:cubicBezTo>
                      <a:pt x="1249" y="718"/>
                      <a:pt x="1249" y="708"/>
                      <a:pt x="1255" y="701"/>
                    </a:cubicBezTo>
                    <a:cubicBezTo>
                      <a:pt x="1261" y="695"/>
                      <a:pt x="1271" y="695"/>
                      <a:pt x="1277" y="701"/>
                    </a:cubicBezTo>
                    <a:cubicBezTo>
                      <a:pt x="1283" y="708"/>
                      <a:pt x="1283" y="718"/>
                      <a:pt x="1277" y="724"/>
                    </a:cubicBezTo>
                    <a:close/>
                    <a:moveTo>
                      <a:pt x="1286" y="361"/>
                    </a:moveTo>
                    <a:cubicBezTo>
                      <a:pt x="1280" y="367"/>
                      <a:pt x="1270" y="367"/>
                      <a:pt x="1263" y="361"/>
                    </a:cubicBezTo>
                    <a:cubicBezTo>
                      <a:pt x="1257" y="355"/>
                      <a:pt x="1257" y="345"/>
                      <a:pt x="1263" y="339"/>
                    </a:cubicBezTo>
                    <a:cubicBezTo>
                      <a:pt x="1270" y="333"/>
                      <a:pt x="1280" y="333"/>
                      <a:pt x="1286" y="339"/>
                    </a:cubicBezTo>
                    <a:cubicBezTo>
                      <a:pt x="1292" y="345"/>
                      <a:pt x="1292" y="355"/>
                      <a:pt x="1286" y="361"/>
                    </a:cubicBezTo>
                    <a:close/>
                    <a:moveTo>
                      <a:pt x="1325" y="587"/>
                    </a:moveTo>
                    <a:cubicBezTo>
                      <a:pt x="1319" y="593"/>
                      <a:pt x="1309" y="593"/>
                      <a:pt x="1303" y="587"/>
                    </a:cubicBezTo>
                    <a:cubicBezTo>
                      <a:pt x="1297" y="581"/>
                      <a:pt x="1297" y="571"/>
                      <a:pt x="1303" y="564"/>
                    </a:cubicBezTo>
                    <a:cubicBezTo>
                      <a:pt x="1309" y="558"/>
                      <a:pt x="1319" y="558"/>
                      <a:pt x="1325" y="564"/>
                    </a:cubicBezTo>
                    <a:cubicBezTo>
                      <a:pt x="1331" y="571"/>
                      <a:pt x="1331" y="581"/>
                      <a:pt x="1325" y="587"/>
                    </a:cubicBezTo>
                    <a:close/>
                    <a:moveTo>
                      <a:pt x="1334" y="224"/>
                    </a:moveTo>
                    <a:cubicBezTo>
                      <a:pt x="1328" y="230"/>
                      <a:pt x="1318" y="230"/>
                      <a:pt x="1312" y="224"/>
                    </a:cubicBezTo>
                    <a:cubicBezTo>
                      <a:pt x="1305" y="218"/>
                      <a:pt x="1305" y="208"/>
                      <a:pt x="1312" y="202"/>
                    </a:cubicBezTo>
                    <a:cubicBezTo>
                      <a:pt x="1318" y="196"/>
                      <a:pt x="1328" y="196"/>
                      <a:pt x="1334" y="202"/>
                    </a:cubicBezTo>
                    <a:cubicBezTo>
                      <a:pt x="1340" y="208"/>
                      <a:pt x="1340" y="218"/>
                      <a:pt x="1334" y="224"/>
                    </a:cubicBezTo>
                    <a:close/>
                    <a:moveTo>
                      <a:pt x="1374" y="450"/>
                    </a:moveTo>
                    <a:cubicBezTo>
                      <a:pt x="1367" y="456"/>
                      <a:pt x="1357" y="456"/>
                      <a:pt x="1351" y="450"/>
                    </a:cubicBezTo>
                    <a:cubicBezTo>
                      <a:pt x="1345" y="444"/>
                      <a:pt x="1345" y="434"/>
                      <a:pt x="1351" y="427"/>
                    </a:cubicBezTo>
                    <a:cubicBezTo>
                      <a:pt x="1357" y="421"/>
                      <a:pt x="1367" y="421"/>
                      <a:pt x="1374" y="427"/>
                    </a:cubicBezTo>
                    <a:cubicBezTo>
                      <a:pt x="1380" y="434"/>
                      <a:pt x="1380" y="444"/>
                      <a:pt x="1374" y="450"/>
                    </a:cubicBezTo>
                    <a:close/>
                    <a:moveTo>
                      <a:pt x="1413" y="675"/>
                    </a:moveTo>
                    <a:cubicBezTo>
                      <a:pt x="1407" y="681"/>
                      <a:pt x="1397" y="681"/>
                      <a:pt x="1391" y="675"/>
                    </a:cubicBezTo>
                    <a:cubicBezTo>
                      <a:pt x="1385" y="669"/>
                      <a:pt x="1385" y="659"/>
                      <a:pt x="1391" y="653"/>
                    </a:cubicBezTo>
                    <a:cubicBezTo>
                      <a:pt x="1397" y="647"/>
                      <a:pt x="1407" y="647"/>
                      <a:pt x="1413" y="653"/>
                    </a:cubicBezTo>
                    <a:cubicBezTo>
                      <a:pt x="1419" y="659"/>
                      <a:pt x="1419" y="669"/>
                      <a:pt x="1413" y="675"/>
                    </a:cubicBezTo>
                    <a:close/>
                    <a:moveTo>
                      <a:pt x="1422" y="313"/>
                    </a:moveTo>
                    <a:cubicBezTo>
                      <a:pt x="1416" y="319"/>
                      <a:pt x="1406" y="319"/>
                      <a:pt x="1399" y="313"/>
                    </a:cubicBezTo>
                    <a:cubicBezTo>
                      <a:pt x="1393" y="306"/>
                      <a:pt x="1393" y="296"/>
                      <a:pt x="1399" y="290"/>
                    </a:cubicBezTo>
                    <a:cubicBezTo>
                      <a:pt x="1406" y="284"/>
                      <a:pt x="1416" y="284"/>
                      <a:pt x="1422" y="290"/>
                    </a:cubicBezTo>
                    <a:cubicBezTo>
                      <a:pt x="1428" y="296"/>
                      <a:pt x="1428" y="306"/>
                      <a:pt x="1422" y="313"/>
                    </a:cubicBezTo>
                    <a:close/>
                    <a:moveTo>
                      <a:pt x="1461" y="538"/>
                    </a:moveTo>
                    <a:cubicBezTo>
                      <a:pt x="1455" y="544"/>
                      <a:pt x="1445" y="544"/>
                      <a:pt x="1439" y="538"/>
                    </a:cubicBezTo>
                    <a:cubicBezTo>
                      <a:pt x="1433" y="532"/>
                      <a:pt x="1433" y="522"/>
                      <a:pt x="1439" y="516"/>
                    </a:cubicBezTo>
                    <a:cubicBezTo>
                      <a:pt x="1445" y="510"/>
                      <a:pt x="1455" y="510"/>
                      <a:pt x="1461" y="516"/>
                    </a:cubicBezTo>
                    <a:cubicBezTo>
                      <a:pt x="1468" y="522"/>
                      <a:pt x="1468" y="532"/>
                      <a:pt x="1461" y="538"/>
                    </a:cubicBezTo>
                    <a:close/>
                    <a:moveTo>
                      <a:pt x="1470" y="176"/>
                    </a:moveTo>
                    <a:cubicBezTo>
                      <a:pt x="1464" y="182"/>
                      <a:pt x="1454" y="182"/>
                      <a:pt x="1448" y="176"/>
                    </a:cubicBezTo>
                    <a:cubicBezTo>
                      <a:pt x="1442" y="169"/>
                      <a:pt x="1442" y="159"/>
                      <a:pt x="1448" y="153"/>
                    </a:cubicBezTo>
                    <a:cubicBezTo>
                      <a:pt x="1454" y="147"/>
                      <a:pt x="1464" y="147"/>
                      <a:pt x="1470" y="153"/>
                    </a:cubicBezTo>
                    <a:cubicBezTo>
                      <a:pt x="1476" y="159"/>
                      <a:pt x="1476" y="169"/>
                      <a:pt x="1470" y="176"/>
                    </a:cubicBezTo>
                    <a:close/>
                    <a:moveTo>
                      <a:pt x="1510" y="401"/>
                    </a:moveTo>
                    <a:cubicBezTo>
                      <a:pt x="1503" y="407"/>
                      <a:pt x="1494" y="407"/>
                      <a:pt x="1487" y="401"/>
                    </a:cubicBezTo>
                    <a:cubicBezTo>
                      <a:pt x="1481" y="395"/>
                      <a:pt x="1481" y="385"/>
                      <a:pt x="1487" y="379"/>
                    </a:cubicBezTo>
                    <a:cubicBezTo>
                      <a:pt x="1494" y="373"/>
                      <a:pt x="1503" y="373"/>
                      <a:pt x="1510" y="379"/>
                    </a:cubicBezTo>
                    <a:cubicBezTo>
                      <a:pt x="1516" y="385"/>
                      <a:pt x="1516" y="395"/>
                      <a:pt x="1510" y="401"/>
                    </a:cubicBezTo>
                    <a:close/>
                    <a:moveTo>
                      <a:pt x="1558" y="264"/>
                    </a:moveTo>
                    <a:cubicBezTo>
                      <a:pt x="1552" y="270"/>
                      <a:pt x="1542" y="270"/>
                      <a:pt x="1536" y="264"/>
                    </a:cubicBezTo>
                    <a:cubicBezTo>
                      <a:pt x="1529" y="258"/>
                      <a:pt x="1529" y="248"/>
                      <a:pt x="1536" y="242"/>
                    </a:cubicBezTo>
                    <a:cubicBezTo>
                      <a:pt x="1542" y="236"/>
                      <a:pt x="1552" y="236"/>
                      <a:pt x="1558" y="242"/>
                    </a:cubicBezTo>
                    <a:cubicBezTo>
                      <a:pt x="1564" y="248"/>
                      <a:pt x="1564" y="258"/>
                      <a:pt x="1558" y="264"/>
                    </a:cubicBezTo>
                    <a:close/>
                    <a:moveTo>
                      <a:pt x="1597" y="490"/>
                    </a:moveTo>
                    <a:cubicBezTo>
                      <a:pt x="1591" y="496"/>
                      <a:pt x="1581" y="496"/>
                      <a:pt x="1575" y="490"/>
                    </a:cubicBezTo>
                    <a:cubicBezTo>
                      <a:pt x="1569" y="484"/>
                      <a:pt x="1569" y="474"/>
                      <a:pt x="1575" y="467"/>
                    </a:cubicBezTo>
                    <a:cubicBezTo>
                      <a:pt x="1581" y="461"/>
                      <a:pt x="1591" y="461"/>
                      <a:pt x="1597" y="467"/>
                    </a:cubicBezTo>
                    <a:cubicBezTo>
                      <a:pt x="1604" y="474"/>
                      <a:pt x="1604" y="484"/>
                      <a:pt x="1597" y="490"/>
                    </a:cubicBezTo>
                    <a:close/>
                    <a:moveTo>
                      <a:pt x="1646" y="353"/>
                    </a:moveTo>
                    <a:cubicBezTo>
                      <a:pt x="1639" y="359"/>
                      <a:pt x="1630" y="359"/>
                      <a:pt x="1623" y="353"/>
                    </a:cubicBezTo>
                    <a:cubicBezTo>
                      <a:pt x="1617" y="346"/>
                      <a:pt x="1617" y="336"/>
                      <a:pt x="1623" y="330"/>
                    </a:cubicBezTo>
                    <a:cubicBezTo>
                      <a:pt x="1630" y="324"/>
                      <a:pt x="1639" y="324"/>
                      <a:pt x="1646" y="330"/>
                    </a:cubicBezTo>
                    <a:cubicBezTo>
                      <a:pt x="1652" y="336"/>
                      <a:pt x="1652" y="346"/>
                      <a:pt x="1646" y="35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 name="Group 3"/>
          <p:cNvGrpSpPr/>
          <p:nvPr/>
        </p:nvGrpSpPr>
        <p:grpSpPr>
          <a:xfrm>
            <a:off x="9922542" y="2143349"/>
            <a:ext cx="1640659" cy="1640659"/>
            <a:chOff x="9922542" y="1748902"/>
            <a:chExt cx="1640659" cy="1640659"/>
          </a:xfrm>
        </p:grpSpPr>
        <p:sp>
          <p:nvSpPr>
            <p:cNvPr id="46" name="Oval 45"/>
            <p:cNvSpPr>
              <a:spLocks noChangeAspect="1"/>
            </p:cNvSpPr>
            <p:nvPr/>
          </p:nvSpPr>
          <p:spPr>
            <a:xfrm>
              <a:off x="9922542" y="1748902"/>
              <a:ext cx="1640659" cy="1640659"/>
            </a:xfrm>
            <a:prstGeom prst="ellipse">
              <a:avLst/>
            </a:prstGeom>
            <a:solidFill>
              <a:srgbClr val="FFFFFF"/>
            </a:solidFill>
            <a:ln w="38100"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grpSp>
          <p:nvGrpSpPr>
            <p:cNvPr id="36" name="Group 35"/>
            <p:cNvGrpSpPr>
              <a:grpSpLocks noChangeAspect="1"/>
            </p:cNvGrpSpPr>
            <p:nvPr/>
          </p:nvGrpSpPr>
          <p:grpSpPr>
            <a:xfrm>
              <a:off x="10119336" y="1945697"/>
              <a:ext cx="1247070" cy="1247070"/>
              <a:chOff x="5273675" y="2570163"/>
              <a:chExt cx="1644650" cy="1644650"/>
            </a:xfrm>
          </p:grpSpPr>
          <p:sp>
            <p:nvSpPr>
              <p:cNvPr id="37" name="AutoShape 3"/>
              <p:cNvSpPr>
                <a:spLocks noChangeAspect="1" noChangeArrowheads="1" noTextEdit="1"/>
              </p:cNvSpPr>
              <p:nvPr/>
            </p:nvSpPr>
            <p:spPr bwMode="auto">
              <a:xfrm>
                <a:off x="5273675" y="257016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8" name="Group 37"/>
              <p:cNvGrpSpPr/>
              <p:nvPr/>
            </p:nvGrpSpPr>
            <p:grpSpPr>
              <a:xfrm>
                <a:off x="5659438" y="2738438"/>
                <a:ext cx="874713" cy="1306513"/>
                <a:chOff x="5659438" y="2738438"/>
                <a:chExt cx="874713" cy="1306513"/>
              </a:xfrm>
            </p:grpSpPr>
            <p:sp>
              <p:nvSpPr>
                <p:cNvPr id="39" name="Freeform 38"/>
                <p:cNvSpPr>
                  <a:spLocks/>
                </p:cNvSpPr>
                <p:nvPr/>
              </p:nvSpPr>
              <p:spPr bwMode="auto">
                <a:xfrm>
                  <a:off x="5659438" y="2738438"/>
                  <a:ext cx="874713" cy="865188"/>
                </a:xfrm>
                <a:custGeom>
                  <a:avLst/>
                  <a:gdLst>
                    <a:gd name="connsiteX0" fmla="*/ 79375 w 874713"/>
                    <a:gd name="connsiteY0" fmla="*/ 58738 h 865188"/>
                    <a:gd name="connsiteX1" fmla="*/ 79375 w 874713"/>
                    <a:gd name="connsiteY1" fmla="*/ 833438 h 865188"/>
                    <a:gd name="connsiteX2" fmla="*/ 795338 w 874713"/>
                    <a:gd name="connsiteY2" fmla="*/ 833438 h 865188"/>
                    <a:gd name="connsiteX3" fmla="*/ 795338 w 874713"/>
                    <a:gd name="connsiteY3" fmla="*/ 58738 h 865188"/>
                    <a:gd name="connsiteX4" fmla="*/ 29300 w 874713"/>
                    <a:gd name="connsiteY4" fmla="*/ 0 h 865188"/>
                    <a:gd name="connsiteX5" fmla="*/ 845413 w 874713"/>
                    <a:gd name="connsiteY5" fmla="*/ 0 h 865188"/>
                    <a:gd name="connsiteX6" fmla="*/ 856133 w 874713"/>
                    <a:gd name="connsiteY6" fmla="*/ 2140 h 865188"/>
                    <a:gd name="connsiteX7" fmla="*/ 874713 w 874713"/>
                    <a:gd name="connsiteY7" fmla="*/ 29244 h 865188"/>
                    <a:gd name="connsiteX8" fmla="*/ 858277 w 874713"/>
                    <a:gd name="connsiteY8" fmla="*/ 55635 h 865188"/>
                    <a:gd name="connsiteX9" fmla="*/ 845413 w 874713"/>
                    <a:gd name="connsiteY9" fmla="*/ 59201 h 865188"/>
                    <a:gd name="connsiteX10" fmla="*/ 826833 w 874713"/>
                    <a:gd name="connsiteY10" fmla="*/ 59201 h 865188"/>
                    <a:gd name="connsiteX11" fmla="*/ 826833 w 874713"/>
                    <a:gd name="connsiteY11" fmla="*/ 849496 h 865188"/>
                    <a:gd name="connsiteX12" fmla="*/ 813255 w 874713"/>
                    <a:gd name="connsiteY12" fmla="*/ 865188 h 865188"/>
                    <a:gd name="connsiteX13" fmla="*/ 811111 w 874713"/>
                    <a:gd name="connsiteY13" fmla="*/ 865188 h 865188"/>
                    <a:gd name="connsiteX14" fmla="*/ 450935 w 874713"/>
                    <a:gd name="connsiteY14" fmla="*/ 865188 h 865188"/>
                    <a:gd name="connsiteX15" fmla="*/ 423779 w 874713"/>
                    <a:gd name="connsiteY15" fmla="*/ 865188 h 865188"/>
                    <a:gd name="connsiteX16" fmla="*/ 63603 w 874713"/>
                    <a:gd name="connsiteY16" fmla="*/ 865188 h 865188"/>
                    <a:gd name="connsiteX17" fmla="*/ 61459 w 874713"/>
                    <a:gd name="connsiteY17" fmla="*/ 865188 h 865188"/>
                    <a:gd name="connsiteX18" fmla="*/ 47881 w 874713"/>
                    <a:gd name="connsiteY18" fmla="*/ 849496 h 865188"/>
                    <a:gd name="connsiteX19" fmla="*/ 47881 w 874713"/>
                    <a:gd name="connsiteY19" fmla="*/ 59201 h 865188"/>
                    <a:gd name="connsiteX20" fmla="*/ 29300 w 874713"/>
                    <a:gd name="connsiteY20" fmla="*/ 59201 h 865188"/>
                    <a:gd name="connsiteX21" fmla="*/ 16437 w 874713"/>
                    <a:gd name="connsiteY21" fmla="*/ 55635 h 865188"/>
                    <a:gd name="connsiteX22" fmla="*/ 0 w 874713"/>
                    <a:gd name="connsiteY22" fmla="*/ 29244 h 865188"/>
                    <a:gd name="connsiteX23" fmla="*/ 18581 w 874713"/>
                    <a:gd name="connsiteY23" fmla="*/ 2140 h 865188"/>
                    <a:gd name="connsiteX24" fmla="*/ 29300 w 874713"/>
                    <a:gd name="connsiteY24" fmla="*/ 0 h 86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74713" h="865188">
                      <a:moveTo>
                        <a:pt x="79375" y="58738"/>
                      </a:moveTo>
                      <a:lnTo>
                        <a:pt x="79375" y="833438"/>
                      </a:lnTo>
                      <a:lnTo>
                        <a:pt x="795338" y="833438"/>
                      </a:lnTo>
                      <a:lnTo>
                        <a:pt x="795338" y="58738"/>
                      </a:lnTo>
                      <a:close/>
                      <a:moveTo>
                        <a:pt x="29300" y="0"/>
                      </a:moveTo>
                      <a:cubicBezTo>
                        <a:pt x="29300" y="0"/>
                        <a:pt x="29300" y="0"/>
                        <a:pt x="845413" y="0"/>
                      </a:cubicBezTo>
                      <a:cubicBezTo>
                        <a:pt x="848986" y="0"/>
                        <a:pt x="852560" y="713"/>
                        <a:pt x="856133" y="2140"/>
                      </a:cubicBezTo>
                      <a:cubicBezTo>
                        <a:pt x="866852" y="6419"/>
                        <a:pt x="874713" y="17118"/>
                        <a:pt x="874713" y="29244"/>
                      </a:cubicBezTo>
                      <a:cubicBezTo>
                        <a:pt x="874713" y="40656"/>
                        <a:pt x="868282" y="50642"/>
                        <a:pt x="858277" y="55635"/>
                      </a:cubicBezTo>
                      <a:cubicBezTo>
                        <a:pt x="854703" y="57774"/>
                        <a:pt x="849701" y="59201"/>
                        <a:pt x="845413" y="59201"/>
                      </a:cubicBezTo>
                      <a:cubicBezTo>
                        <a:pt x="845413" y="59201"/>
                        <a:pt x="845413" y="59201"/>
                        <a:pt x="826833" y="59201"/>
                      </a:cubicBezTo>
                      <a:cubicBezTo>
                        <a:pt x="826833" y="59201"/>
                        <a:pt x="826833" y="59201"/>
                        <a:pt x="826833" y="849496"/>
                      </a:cubicBezTo>
                      <a:cubicBezTo>
                        <a:pt x="826833" y="858056"/>
                        <a:pt x="821116" y="864475"/>
                        <a:pt x="813255" y="865188"/>
                      </a:cubicBezTo>
                      <a:cubicBezTo>
                        <a:pt x="812540" y="865188"/>
                        <a:pt x="811825" y="865188"/>
                        <a:pt x="811111" y="865188"/>
                      </a:cubicBezTo>
                      <a:cubicBezTo>
                        <a:pt x="811111" y="865188"/>
                        <a:pt x="811111" y="865188"/>
                        <a:pt x="450935" y="865188"/>
                      </a:cubicBezTo>
                      <a:cubicBezTo>
                        <a:pt x="450935" y="865188"/>
                        <a:pt x="450935" y="865188"/>
                        <a:pt x="423779" y="865188"/>
                      </a:cubicBezTo>
                      <a:cubicBezTo>
                        <a:pt x="423779" y="865188"/>
                        <a:pt x="423779" y="865188"/>
                        <a:pt x="63603" y="865188"/>
                      </a:cubicBezTo>
                      <a:cubicBezTo>
                        <a:pt x="62888" y="865188"/>
                        <a:pt x="62173" y="865188"/>
                        <a:pt x="61459" y="865188"/>
                      </a:cubicBezTo>
                      <a:cubicBezTo>
                        <a:pt x="53598" y="864475"/>
                        <a:pt x="47881" y="858056"/>
                        <a:pt x="47881" y="849496"/>
                      </a:cubicBezTo>
                      <a:cubicBezTo>
                        <a:pt x="47881" y="849496"/>
                        <a:pt x="47881" y="849496"/>
                        <a:pt x="47881" y="59201"/>
                      </a:cubicBezTo>
                      <a:cubicBezTo>
                        <a:pt x="47881" y="59201"/>
                        <a:pt x="47881" y="59201"/>
                        <a:pt x="29300" y="59201"/>
                      </a:cubicBezTo>
                      <a:cubicBezTo>
                        <a:pt x="25012" y="59201"/>
                        <a:pt x="20010" y="57774"/>
                        <a:pt x="16437" y="55635"/>
                      </a:cubicBezTo>
                      <a:cubicBezTo>
                        <a:pt x="6432" y="50642"/>
                        <a:pt x="0" y="40656"/>
                        <a:pt x="0" y="29244"/>
                      </a:cubicBezTo>
                      <a:cubicBezTo>
                        <a:pt x="0" y="17118"/>
                        <a:pt x="7861" y="6419"/>
                        <a:pt x="18581" y="2140"/>
                      </a:cubicBezTo>
                      <a:cubicBezTo>
                        <a:pt x="22154" y="713"/>
                        <a:pt x="25727" y="0"/>
                        <a:pt x="2930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0" name="Freeform 39"/>
                <p:cNvSpPr>
                  <a:spLocks/>
                </p:cNvSpPr>
                <p:nvPr/>
              </p:nvSpPr>
              <p:spPr bwMode="auto">
                <a:xfrm>
                  <a:off x="5789613" y="2852738"/>
                  <a:ext cx="614363" cy="1192213"/>
                </a:xfrm>
                <a:custGeom>
                  <a:avLst/>
                  <a:gdLst>
                    <a:gd name="connsiteX0" fmla="*/ 273711 w 614363"/>
                    <a:gd name="connsiteY0" fmla="*/ 782638 h 1192213"/>
                    <a:gd name="connsiteX1" fmla="*/ 303621 w 614363"/>
                    <a:gd name="connsiteY1" fmla="*/ 782638 h 1192213"/>
                    <a:gd name="connsiteX2" fmla="*/ 322848 w 614363"/>
                    <a:gd name="connsiteY2" fmla="*/ 782638 h 1192213"/>
                    <a:gd name="connsiteX3" fmla="*/ 340651 w 614363"/>
                    <a:gd name="connsiteY3" fmla="*/ 782638 h 1192213"/>
                    <a:gd name="connsiteX4" fmla="*/ 579215 w 614363"/>
                    <a:gd name="connsiteY4" fmla="*/ 1167995 h 1192213"/>
                    <a:gd name="connsiteX5" fmla="*/ 574230 w 614363"/>
                    <a:gd name="connsiteY5" fmla="*/ 1190076 h 1192213"/>
                    <a:gd name="connsiteX6" fmla="*/ 566397 w 614363"/>
                    <a:gd name="connsiteY6" fmla="*/ 1192213 h 1192213"/>
                    <a:gd name="connsiteX7" fmla="*/ 552866 w 614363"/>
                    <a:gd name="connsiteY7" fmla="*/ 1185090 h 1192213"/>
                    <a:gd name="connsiteX8" fmla="*/ 322848 w 614363"/>
                    <a:gd name="connsiteY8" fmla="*/ 813980 h 1192213"/>
                    <a:gd name="connsiteX9" fmla="*/ 322848 w 614363"/>
                    <a:gd name="connsiteY9" fmla="*/ 1176542 h 1192213"/>
                    <a:gd name="connsiteX10" fmla="*/ 307181 w 614363"/>
                    <a:gd name="connsiteY10" fmla="*/ 1192213 h 1192213"/>
                    <a:gd name="connsiteX11" fmla="*/ 291514 w 614363"/>
                    <a:gd name="connsiteY11" fmla="*/ 1176542 h 1192213"/>
                    <a:gd name="connsiteX12" fmla="*/ 291514 w 614363"/>
                    <a:gd name="connsiteY12" fmla="*/ 813980 h 1192213"/>
                    <a:gd name="connsiteX13" fmla="*/ 61496 w 614363"/>
                    <a:gd name="connsiteY13" fmla="*/ 1185090 h 1192213"/>
                    <a:gd name="connsiteX14" fmla="*/ 47966 w 614363"/>
                    <a:gd name="connsiteY14" fmla="*/ 1192213 h 1192213"/>
                    <a:gd name="connsiteX15" fmla="*/ 40132 w 614363"/>
                    <a:gd name="connsiteY15" fmla="*/ 1190076 h 1192213"/>
                    <a:gd name="connsiteX16" fmla="*/ 35147 w 614363"/>
                    <a:gd name="connsiteY16" fmla="*/ 1167995 h 1192213"/>
                    <a:gd name="connsiteX17" fmla="*/ 273711 w 614363"/>
                    <a:gd name="connsiteY17" fmla="*/ 782638 h 1192213"/>
                    <a:gd name="connsiteX18" fmla="*/ 15703 w 614363"/>
                    <a:gd name="connsiteY18" fmla="*/ 638175 h 1192213"/>
                    <a:gd name="connsiteX19" fmla="*/ 352598 w 614363"/>
                    <a:gd name="connsiteY19" fmla="*/ 638175 h 1192213"/>
                    <a:gd name="connsiteX20" fmla="*/ 368300 w 614363"/>
                    <a:gd name="connsiteY20" fmla="*/ 653257 h 1192213"/>
                    <a:gd name="connsiteX21" fmla="*/ 352598 w 614363"/>
                    <a:gd name="connsiteY21" fmla="*/ 668338 h 1192213"/>
                    <a:gd name="connsiteX22" fmla="*/ 15703 w 614363"/>
                    <a:gd name="connsiteY22" fmla="*/ 668338 h 1192213"/>
                    <a:gd name="connsiteX23" fmla="*/ 0 w 614363"/>
                    <a:gd name="connsiteY23" fmla="*/ 653257 h 1192213"/>
                    <a:gd name="connsiteX24" fmla="*/ 15703 w 614363"/>
                    <a:gd name="connsiteY24" fmla="*/ 638175 h 1192213"/>
                    <a:gd name="connsiteX25" fmla="*/ 15680 w 614363"/>
                    <a:gd name="connsiteY25" fmla="*/ 557213 h 1192213"/>
                    <a:gd name="connsiteX26" fmla="*/ 598683 w 614363"/>
                    <a:gd name="connsiteY26" fmla="*/ 557213 h 1192213"/>
                    <a:gd name="connsiteX27" fmla="*/ 614363 w 614363"/>
                    <a:gd name="connsiteY27" fmla="*/ 573088 h 1192213"/>
                    <a:gd name="connsiteX28" fmla="*/ 598683 w 614363"/>
                    <a:gd name="connsiteY28" fmla="*/ 588963 h 1192213"/>
                    <a:gd name="connsiteX29" fmla="*/ 15680 w 614363"/>
                    <a:gd name="connsiteY29" fmla="*/ 588963 h 1192213"/>
                    <a:gd name="connsiteX30" fmla="*/ 0 w 614363"/>
                    <a:gd name="connsiteY30" fmla="*/ 573088 h 1192213"/>
                    <a:gd name="connsiteX31" fmla="*/ 15680 w 614363"/>
                    <a:gd name="connsiteY31" fmla="*/ 557213 h 1192213"/>
                    <a:gd name="connsiteX32" fmla="*/ 15680 w 614363"/>
                    <a:gd name="connsiteY32" fmla="*/ 477838 h 1192213"/>
                    <a:gd name="connsiteX33" fmla="*/ 598683 w 614363"/>
                    <a:gd name="connsiteY33" fmla="*/ 477838 h 1192213"/>
                    <a:gd name="connsiteX34" fmla="*/ 614363 w 614363"/>
                    <a:gd name="connsiteY34" fmla="*/ 493713 h 1192213"/>
                    <a:gd name="connsiteX35" fmla="*/ 598683 w 614363"/>
                    <a:gd name="connsiteY35" fmla="*/ 509588 h 1192213"/>
                    <a:gd name="connsiteX36" fmla="*/ 15680 w 614363"/>
                    <a:gd name="connsiteY36" fmla="*/ 509588 h 1192213"/>
                    <a:gd name="connsiteX37" fmla="*/ 0 w 614363"/>
                    <a:gd name="connsiteY37" fmla="*/ 493713 h 1192213"/>
                    <a:gd name="connsiteX38" fmla="*/ 15680 w 614363"/>
                    <a:gd name="connsiteY38" fmla="*/ 477838 h 1192213"/>
                    <a:gd name="connsiteX39" fmla="*/ 15680 w 614363"/>
                    <a:gd name="connsiteY39" fmla="*/ 398463 h 1192213"/>
                    <a:gd name="connsiteX40" fmla="*/ 598683 w 614363"/>
                    <a:gd name="connsiteY40" fmla="*/ 398463 h 1192213"/>
                    <a:gd name="connsiteX41" fmla="*/ 614363 w 614363"/>
                    <a:gd name="connsiteY41" fmla="*/ 414338 h 1192213"/>
                    <a:gd name="connsiteX42" fmla="*/ 598683 w 614363"/>
                    <a:gd name="connsiteY42" fmla="*/ 430213 h 1192213"/>
                    <a:gd name="connsiteX43" fmla="*/ 15680 w 614363"/>
                    <a:gd name="connsiteY43" fmla="*/ 430213 h 1192213"/>
                    <a:gd name="connsiteX44" fmla="*/ 0 w 614363"/>
                    <a:gd name="connsiteY44" fmla="*/ 414338 h 1192213"/>
                    <a:gd name="connsiteX45" fmla="*/ 15680 w 614363"/>
                    <a:gd name="connsiteY45" fmla="*/ 398463 h 1192213"/>
                    <a:gd name="connsiteX46" fmla="*/ 15680 w 614363"/>
                    <a:gd name="connsiteY46" fmla="*/ 319088 h 1192213"/>
                    <a:gd name="connsiteX47" fmla="*/ 598683 w 614363"/>
                    <a:gd name="connsiteY47" fmla="*/ 319088 h 1192213"/>
                    <a:gd name="connsiteX48" fmla="*/ 614363 w 614363"/>
                    <a:gd name="connsiteY48" fmla="*/ 334169 h 1192213"/>
                    <a:gd name="connsiteX49" fmla="*/ 598683 w 614363"/>
                    <a:gd name="connsiteY49" fmla="*/ 349251 h 1192213"/>
                    <a:gd name="connsiteX50" fmla="*/ 15680 w 614363"/>
                    <a:gd name="connsiteY50" fmla="*/ 349251 h 1192213"/>
                    <a:gd name="connsiteX51" fmla="*/ 0 w 614363"/>
                    <a:gd name="connsiteY51" fmla="*/ 334169 h 1192213"/>
                    <a:gd name="connsiteX52" fmla="*/ 15680 w 614363"/>
                    <a:gd name="connsiteY52" fmla="*/ 319088 h 1192213"/>
                    <a:gd name="connsiteX53" fmla="*/ 15680 w 614363"/>
                    <a:gd name="connsiteY53" fmla="*/ 238125 h 1192213"/>
                    <a:gd name="connsiteX54" fmla="*/ 598683 w 614363"/>
                    <a:gd name="connsiteY54" fmla="*/ 238125 h 1192213"/>
                    <a:gd name="connsiteX55" fmla="*/ 614363 w 614363"/>
                    <a:gd name="connsiteY55" fmla="*/ 254000 h 1192213"/>
                    <a:gd name="connsiteX56" fmla="*/ 598683 w 614363"/>
                    <a:gd name="connsiteY56" fmla="*/ 269875 h 1192213"/>
                    <a:gd name="connsiteX57" fmla="*/ 15680 w 614363"/>
                    <a:gd name="connsiteY57" fmla="*/ 269875 h 1192213"/>
                    <a:gd name="connsiteX58" fmla="*/ 0 w 614363"/>
                    <a:gd name="connsiteY58" fmla="*/ 254000 h 1192213"/>
                    <a:gd name="connsiteX59" fmla="*/ 15680 w 614363"/>
                    <a:gd name="connsiteY59" fmla="*/ 238125 h 1192213"/>
                    <a:gd name="connsiteX60" fmla="*/ 15680 w 614363"/>
                    <a:gd name="connsiteY60" fmla="*/ 158750 h 1192213"/>
                    <a:gd name="connsiteX61" fmla="*/ 598683 w 614363"/>
                    <a:gd name="connsiteY61" fmla="*/ 158750 h 1192213"/>
                    <a:gd name="connsiteX62" fmla="*/ 614363 w 614363"/>
                    <a:gd name="connsiteY62" fmla="*/ 174625 h 1192213"/>
                    <a:gd name="connsiteX63" fmla="*/ 598683 w 614363"/>
                    <a:gd name="connsiteY63" fmla="*/ 190500 h 1192213"/>
                    <a:gd name="connsiteX64" fmla="*/ 15680 w 614363"/>
                    <a:gd name="connsiteY64" fmla="*/ 190500 h 1192213"/>
                    <a:gd name="connsiteX65" fmla="*/ 0 w 614363"/>
                    <a:gd name="connsiteY65" fmla="*/ 174625 h 1192213"/>
                    <a:gd name="connsiteX66" fmla="*/ 15680 w 614363"/>
                    <a:gd name="connsiteY66" fmla="*/ 158750 h 1192213"/>
                    <a:gd name="connsiteX67" fmla="*/ 15680 w 614363"/>
                    <a:gd name="connsiteY67" fmla="*/ 79375 h 1192213"/>
                    <a:gd name="connsiteX68" fmla="*/ 598683 w 614363"/>
                    <a:gd name="connsiteY68" fmla="*/ 79375 h 1192213"/>
                    <a:gd name="connsiteX69" fmla="*/ 614363 w 614363"/>
                    <a:gd name="connsiteY69" fmla="*/ 94456 h 1192213"/>
                    <a:gd name="connsiteX70" fmla="*/ 598683 w 614363"/>
                    <a:gd name="connsiteY70" fmla="*/ 109538 h 1192213"/>
                    <a:gd name="connsiteX71" fmla="*/ 15680 w 614363"/>
                    <a:gd name="connsiteY71" fmla="*/ 109538 h 1192213"/>
                    <a:gd name="connsiteX72" fmla="*/ 0 w 614363"/>
                    <a:gd name="connsiteY72" fmla="*/ 94456 h 1192213"/>
                    <a:gd name="connsiteX73" fmla="*/ 15680 w 614363"/>
                    <a:gd name="connsiteY73" fmla="*/ 79375 h 1192213"/>
                    <a:gd name="connsiteX74" fmla="*/ 15680 w 614363"/>
                    <a:gd name="connsiteY74" fmla="*/ 0 h 1192213"/>
                    <a:gd name="connsiteX75" fmla="*/ 598683 w 614363"/>
                    <a:gd name="connsiteY75" fmla="*/ 0 h 1192213"/>
                    <a:gd name="connsiteX76" fmla="*/ 614363 w 614363"/>
                    <a:gd name="connsiteY76" fmla="*/ 15081 h 1192213"/>
                    <a:gd name="connsiteX77" fmla="*/ 598683 w 614363"/>
                    <a:gd name="connsiteY77" fmla="*/ 30163 h 1192213"/>
                    <a:gd name="connsiteX78" fmla="*/ 15680 w 614363"/>
                    <a:gd name="connsiteY78" fmla="*/ 30163 h 1192213"/>
                    <a:gd name="connsiteX79" fmla="*/ 0 w 614363"/>
                    <a:gd name="connsiteY79" fmla="*/ 15081 h 1192213"/>
                    <a:gd name="connsiteX80" fmla="*/ 15680 w 614363"/>
                    <a:gd name="connsiteY80"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614363" h="1192213">
                      <a:moveTo>
                        <a:pt x="273711" y="782638"/>
                      </a:moveTo>
                      <a:cubicBezTo>
                        <a:pt x="273711" y="782638"/>
                        <a:pt x="273711" y="782638"/>
                        <a:pt x="303621" y="782638"/>
                      </a:cubicBezTo>
                      <a:cubicBezTo>
                        <a:pt x="303621" y="782638"/>
                        <a:pt x="303621" y="782638"/>
                        <a:pt x="322848" y="782638"/>
                      </a:cubicBezTo>
                      <a:cubicBezTo>
                        <a:pt x="322848" y="782638"/>
                        <a:pt x="322848" y="782638"/>
                        <a:pt x="340651" y="782638"/>
                      </a:cubicBezTo>
                      <a:lnTo>
                        <a:pt x="579215" y="1167995"/>
                      </a:lnTo>
                      <a:cubicBezTo>
                        <a:pt x="584200" y="1175830"/>
                        <a:pt x="582064" y="1185090"/>
                        <a:pt x="574230" y="1190076"/>
                      </a:cubicBezTo>
                      <a:cubicBezTo>
                        <a:pt x="572094" y="1191501"/>
                        <a:pt x="569245" y="1192213"/>
                        <a:pt x="566397" y="1192213"/>
                      </a:cubicBezTo>
                      <a:cubicBezTo>
                        <a:pt x="560700" y="1192213"/>
                        <a:pt x="555715" y="1189364"/>
                        <a:pt x="552866" y="1185090"/>
                      </a:cubicBezTo>
                      <a:cubicBezTo>
                        <a:pt x="552866" y="1185090"/>
                        <a:pt x="552866" y="1185090"/>
                        <a:pt x="322848" y="813980"/>
                      </a:cubicBezTo>
                      <a:cubicBezTo>
                        <a:pt x="322848" y="813980"/>
                        <a:pt x="322848" y="813980"/>
                        <a:pt x="322848" y="1176542"/>
                      </a:cubicBezTo>
                      <a:cubicBezTo>
                        <a:pt x="322848" y="1185090"/>
                        <a:pt x="315727" y="1192213"/>
                        <a:pt x="307181" y="1192213"/>
                      </a:cubicBezTo>
                      <a:cubicBezTo>
                        <a:pt x="298636" y="1192213"/>
                        <a:pt x="291514" y="1185090"/>
                        <a:pt x="291514" y="1176542"/>
                      </a:cubicBezTo>
                      <a:cubicBezTo>
                        <a:pt x="291514" y="1176542"/>
                        <a:pt x="291514" y="1176542"/>
                        <a:pt x="291514" y="813980"/>
                      </a:cubicBezTo>
                      <a:cubicBezTo>
                        <a:pt x="291514" y="813980"/>
                        <a:pt x="291514" y="813980"/>
                        <a:pt x="61496" y="1185090"/>
                      </a:cubicBezTo>
                      <a:cubicBezTo>
                        <a:pt x="58647" y="1189364"/>
                        <a:pt x="53663" y="1192213"/>
                        <a:pt x="47966" y="1192213"/>
                      </a:cubicBezTo>
                      <a:cubicBezTo>
                        <a:pt x="45117" y="1192213"/>
                        <a:pt x="42268" y="1191501"/>
                        <a:pt x="40132" y="1190076"/>
                      </a:cubicBezTo>
                      <a:cubicBezTo>
                        <a:pt x="32299" y="1185090"/>
                        <a:pt x="30162" y="1175830"/>
                        <a:pt x="35147" y="1167995"/>
                      </a:cubicBezTo>
                      <a:cubicBezTo>
                        <a:pt x="35147" y="1167995"/>
                        <a:pt x="35147" y="1167995"/>
                        <a:pt x="273711" y="782638"/>
                      </a:cubicBezTo>
                      <a:close/>
                      <a:moveTo>
                        <a:pt x="15703" y="638175"/>
                      </a:moveTo>
                      <a:cubicBezTo>
                        <a:pt x="15703" y="638175"/>
                        <a:pt x="15703" y="638175"/>
                        <a:pt x="352598" y="638175"/>
                      </a:cubicBezTo>
                      <a:cubicBezTo>
                        <a:pt x="361163" y="638175"/>
                        <a:pt x="368300" y="645030"/>
                        <a:pt x="368300" y="653257"/>
                      </a:cubicBezTo>
                      <a:cubicBezTo>
                        <a:pt x="368300" y="661483"/>
                        <a:pt x="361163" y="668338"/>
                        <a:pt x="352598" y="668338"/>
                      </a:cubicBezTo>
                      <a:cubicBezTo>
                        <a:pt x="352598" y="668338"/>
                        <a:pt x="352598" y="668338"/>
                        <a:pt x="15703" y="668338"/>
                      </a:cubicBezTo>
                      <a:cubicBezTo>
                        <a:pt x="7138" y="668338"/>
                        <a:pt x="0" y="661483"/>
                        <a:pt x="0" y="653257"/>
                      </a:cubicBezTo>
                      <a:cubicBezTo>
                        <a:pt x="0" y="645030"/>
                        <a:pt x="7138" y="638175"/>
                        <a:pt x="15703" y="638175"/>
                      </a:cubicBezTo>
                      <a:close/>
                      <a:moveTo>
                        <a:pt x="15680" y="557213"/>
                      </a:moveTo>
                      <a:cubicBezTo>
                        <a:pt x="15680" y="557213"/>
                        <a:pt x="15680" y="557213"/>
                        <a:pt x="598683" y="557213"/>
                      </a:cubicBezTo>
                      <a:cubicBezTo>
                        <a:pt x="607236" y="557213"/>
                        <a:pt x="614363" y="564429"/>
                        <a:pt x="614363" y="573088"/>
                      </a:cubicBezTo>
                      <a:cubicBezTo>
                        <a:pt x="614363" y="581747"/>
                        <a:pt x="607236" y="588963"/>
                        <a:pt x="598683" y="588963"/>
                      </a:cubicBezTo>
                      <a:cubicBezTo>
                        <a:pt x="598683" y="588963"/>
                        <a:pt x="598683" y="588963"/>
                        <a:pt x="15680" y="588963"/>
                      </a:cubicBezTo>
                      <a:cubicBezTo>
                        <a:pt x="7127" y="588963"/>
                        <a:pt x="0" y="581747"/>
                        <a:pt x="0" y="573088"/>
                      </a:cubicBezTo>
                      <a:cubicBezTo>
                        <a:pt x="0" y="564429"/>
                        <a:pt x="7127" y="557213"/>
                        <a:pt x="15680" y="557213"/>
                      </a:cubicBezTo>
                      <a:close/>
                      <a:moveTo>
                        <a:pt x="15680" y="477838"/>
                      </a:moveTo>
                      <a:cubicBezTo>
                        <a:pt x="15680" y="477838"/>
                        <a:pt x="15680" y="477838"/>
                        <a:pt x="598683" y="477838"/>
                      </a:cubicBezTo>
                      <a:cubicBezTo>
                        <a:pt x="607236" y="477838"/>
                        <a:pt x="614363" y="485054"/>
                        <a:pt x="614363" y="493713"/>
                      </a:cubicBezTo>
                      <a:cubicBezTo>
                        <a:pt x="614363" y="503094"/>
                        <a:pt x="607236" y="509588"/>
                        <a:pt x="598683" y="509588"/>
                      </a:cubicBezTo>
                      <a:cubicBezTo>
                        <a:pt x="598683" y="509588"/>
                        <a:pt x="598683" y="509588"/>
                        <a:pt x="15680" y="509588"/>
                      </a:cubicBezTo>
                      <a:cubicBezTo>
                        <a:pt x="7127" y="509588"/>
                        <a:pt x="0" y="503094"/>
                        <a:pt x="0" y="493713"/>
                      </a:cubicBezTo>
                      <a:cubicBezTo>
                        <a:pt x="0" y="485054"/>
                        <a:pt x="7127" y="477838"/>
                        <a:pt x="15680" y="477838"/>
                      </a:cubicBezTo>
                      <a:close/>
                      <a:moveTo>
                        <a:pt x="15680" y="398463"/>
                      </a:moveTo>
                      <a:cubicBezTo>
                        <a:pt x="15680" y="398463"/>
                        <a:pt x="15680" y="398463"/>
                        <a:pt x="598683" y="398463"/>
                      </a:cubicBezTo>
                      <a:cubicBezTo>
                        <a:pt x="607236" y="398463"/>
                        <a:pt x="614363" y="404957"/>
                        <a:pt x="614363" y="414338"/>
                      </a:cubicBezTo>
                      <a:cubicBezTo>
                        <a:pt x="614363" y="422997"/>
                        <a:pt x="607236" y="430213"/>
                        <a:pt x="598683" y="430213"/>
                      </a:cubicBezTo>
                      <a:cubicBezTo>
                        <a:pt x="598683" y="430213"/>
                        <a:pt x="598683" y="430213"/>
                        <a:pt x="15680" y="430213"/>
                      </a:cubicBezTo>
                      <a:cubicBezTo>
                        <a:pt x="7127" y="430213"/>
                        <a:pt x="0" y="422997"/>
                        <a:pt x="0" y="414338"/>
                      </a:cubicBezTo>
                      <a:cubicBezTo>
                        <a:pt x="0" y="404957"/>
                        <a:pt x="7127" y="398463"/>
                        <a:pt x="15680" y="398463"/>
                      </a:cubicBezTo>
                      <a:close/>
                      <a:moveTo>
                        <a:pt x="15680" y="319088"/>
                      </a:moveTo>
                      <a:cubicBezTo>
                        <a:pt x="15680" y="319088"/>
                        <a:pt x="15680" y="319088"/>
                        <a:pt x="598683" y="319088"/>
                      </a:cubicBezTo>
                      <a:cubicBezTo>
                        <a:pt x="607236" y="319088"/>
                        <a:pt x="614363" y="325943"/>
                        <a:pt x="614363" y="334169"/>
                      </a:cubicBezTo>
                      <a:cubicBezTo>
                        <a:pt x="614363" y="342396"/>
                        <a:pt x="607236" y="349251"/>
                        <a:pt x="598683" y="349251"/>
                      </a:cubicBezTo>
                      <a:cubicBezTo>
                        <a:pt x="598683" y="349251"/>
                        <a:pt x="598683" y="349251"/>
                        <a:pt x="15680" y="349251"/>
                      </a:cubicBezTo>
                      <a:cubicBezTo>
                        <a:pt x="7127" y="349251"/>
                        <a:pt x="0" y="342396"/>
                        <a:pt x="0" y="334169"/>
                      </a:cubicBezTo>
                      <a:cubicBezTo>
                        <a:pt x="0" y="325943"/>
                        <a:pt x="7127" y="319088"/>
                        <a:pt x="15680" y="319088"/>
                      </a:cubicBezTo>
                      <a:close/>
                      <a:moveTo>
                        <a:pt x="15680" y="238125"/>
                      </a:moveTo>
                      <a:cubicBezTo>
                        <a:pt x="15680" y="238125"/>
                        <a:pt x="15680" y="238125"/>
                        <a:pt x="598683" y="238125"/>
                      </a:cubicBezTo>
                      <a:cubicBezTo>
                        <a:pt x="607236" y="238125"/>
                        <a:pt x="614363" y="245341"/>
                        <a:pt x="614363" y="254000"/>
                      </a:cubicBezTo>
                      <a:cubicBezTo>
                        <a:pt x="614363" y="262659"/>
                        <a:pt x="607236" y="269875"/>
                        <a:pt x="598683" y="269875"/>
                      </a:cubicBezTo>
                      <a:cubicBezTo>
                        <a:pt x="598683" y="269875"/>
                        <a:pt x="598683" y="269875"/>
                        <a:pt x="15680" y="269875"/>
                      </a:cubicBezTo>
                      <a:cubicBezTo>
                        <a:pt x="7127" y="269875"/>
                        <a:pt x="0" y="262659"/>
                        <a:pt x="0" y="254000"/>
                      </a:cubicBezTo>
                      <a:cubicBezTo>
                        <a:pt x="0" y="245341"/>
                        <a:pt x="7127" y="238125"/>
                        <a:pt x="15680" y="238125"/>
                      </a:cubicBezTo>
                      <a:close/>
                      <a:moveTo>
                        <a:pt x="15680" y="158750"/>
                      </a:moveTo>
                      <a:cubicBezTo>
                        <a:pt x="15680" y="158750"/>
                        <a:pt x="15680" y="158750"/>
                        <a:pt x="598683" y="158750"/>
                      </a:cubicBezTo>
                      <a:cubicBezTo>
                        <a:pt x="607236" y="158750"/>
                        <a:pt x="614363" y="165966"/>
                        <a:pt x="614363" y="174625"/>
                      </a:cubicBezTo>
                      <a:cubicBezTo>
                        <a:pt x="614363" y="183284"/>
                        <a:pt x="607236" y="190500"/>
                        <a:pt x="598683" y="190500"/>
                      </a:cubicBezTo>
                      <a:cubicBezTo>
                        <a:pt x="598683" y="190500"/>
                        <a:pt x="598683" y="190500"/>
                        <a:pt x="15680" y="190500"/>
                      </a:cubicBezTo>
                      <a:cubicBezTo>
                        <a:pt x="7127" y="190500"/>
                        <a:pt x="0" y="183284"/>
                        <a:pt x="0" y="174625"/>
                      </a:cubicBezTo>
                      <a:cubicBezTo>
                        <a:pt x="0" y="165966"/>
                        <a:pt x="7127" y="158750"/>
                        <a:pt x="15680" y="158750"/>
                      </a:cubicBezTo>
                      <a:close/>
                      <a:moveTo>
                        <a:pt x="15680" y="79375"/>
                      </a:moveTo>
                      <a:cubicBezTo>
                        <a:pt x="15680" y="79375"/>
                        <a:pt x="15680" y="79375"/>
                        <a:pt x="598683" y="79375"/>
                      </a:cubicBezTo>
                      <a:cubicBezTo>
                        <a:pt x="607236" y="79375"/>
                        <a:pt x="614363" y="86230"/>
                        <a:pt x="614363" y="94456"/>
                      </a:cubicBezTo>
                      <a:cubicBezTo>
                        <a:pt x="614363" y="103368"/>
                        <a:pt x="607236" y="109538"/>
                        <a:pt x="598683" y="109538"/>
                      </a:cubicBezTo>
                      <a:cubicBezTo>
                        <a:pt x="598683" y="109538"/>
                        <a:pt x="598683" y="109538"/>
                        <a:pt x="15680" y="109538"/>
                      </a:cubicBezTo>
                      <a:cubicBezTo>
                        <a:pt x="7127" y="109538"/>
                        <a:pt x="0" y="103368"/>
                        <a:pt x="0" y="94456"/>
                      </a:cubicBezTo>
                      <a:cubicBezTo>
                        <a:pt x="0" y="86230"/>
                        <a:pt x="7127" y="79375"/>
                        <a:pt x="15680" y="79375"/>
                      </a:cubicBezTo>
                      <a:close/>
                      <a:moveTo>
                        <a:pt x="15680" y="0"/>
                      </a:moveTo>
                      <a:cubicBezTo>
                        <a:pt x="15680" y="0"/>
                        <a:pt x="15680" y="0"/>
                        <a:pt x="598683" y="0"/>
                      </a:cubicBezTo>
                      <a:cubicBezTo>
                        <a:pt x="607236" y="0"/>
                        <a:pt x="614363" y="6170"/>
                        <a:pt x="614363" y="15081"/>
                      </a:cubicBezTo>
                      <a:cubicBezTo>
                        <a:pt x="614363" y="23308"/>
                        <a:pt x="607236" y="30163"/>
                        <a:pt x="598683" y="30163"/>
                      </a:cubicBezTo>
                      <a:cubicBezTo>
                        <a:pt x="598683" y="30163"/>
                        <a:pt x="598683" y="30163"/>
                        <a:pt x="15680" y="30163"/>
                      </a:cubicBezTo>
                      <a:cubicBezTo>
                        <a:pt x="7127" y="30163"/>
                        <a:pt x="0" y="23308"/>
                        <a:pt x="0" y="15081"/>
                      </a:cubicBezTo>
                      <a:cubicBezTo>
                        <a:pt x="0" y="6170"/>
                        <a:pt x="7127" y="0"/>
                        <a:pt x="1568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sp>
        <p:nvSpPr>
          <p:cNvPr id="52" name="Content Placeholder 5"/>
          <p:cNvSpPr txBox="1">
            <a:spLocks/>
          </p:cNvSpPr>
          <p:nvPr/>
        </p:nvSpPr>
        <p:spPr>
          <a:xfrm>
            <a:off x="2267406" y="3858053"/>
            <a:ext cx="1712924" cy="180508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Aft>
                <a:spcPts val="0"/>
              </a:spcAft>
              <a:buSzPct val="100000"/>
              <a:buFont typeface="Trebuchet MS" panose="020B0603020202020204" pitchFamily="34" charset="0"/>
              <a:buChar char="​"/>
            </a:pPr>
            <a:r>
              <a:rPr lang="en-US" altLang="fr-FR" sz="1600" dirty="0">
                <a:solidFill>
                  <a:schemeClr val="tx1">
                    <a:lumMod val="100000"/>
                  </a:schemeClr>
                </a:solidFill>
                <a:latin typeface="Trebuchet MS" panose="020B0603020202020204" pitchFamily="34" charset="0"/>
              </a:rPr>
              <a:t>Frame a complex and multidimensional problem</a:t>
            </a:r>
          </a:p>
        </p:txBody>
      </p:sp>
      <p:sp>
        <p:nvSpPr>
          <p:cNvPr id="53" name="Content Placeholder 5"/>
          <p:cNvSpPr txBox="1">
            <a:spLocks/>
          </p:cNvSpPr>
          <p:nvPr/>
        </p:nvSpPr>
        <p:spPr>
          <a:xfrm>
            <a:off x="4172157" y="3858053"/>
            <a:ext cx="1712924" cy="180508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Aft>
                <a:spcPts val="0"/>
              </a:spcAft>
              <a:buSzPct val="100000"/>
              <a:buFont typeface="Trebuchet MS" panose="020B0603020202020204" pitchFamily="34" charset="0"/>
              <a:buChar char="​"/>
            </a:pPr>
            <a:r>
              <a:rPr lang="en-US" altLang="fr-FR" sz="1600">
                <a:solidFill>
                  <a:schemeClr val="tx1">
                    <a:lumMod val="100000"/>
                  </a:schemeClr>
                </a:solidFill>
                <a:latin typeface="Trebuchet MS" panose="020B0603020202020204" pitchFamily="34" charset="0"/>
              </a:rPr>
              <a:t>Structure your work within a team</a:t>
            </a:r>
            <a:endParaRPr lang="en-US" altLang="fr-FR" sz="1600" dirty="0">
              <a:solidFill>
                <a:schemeClr val="tx1">
                  <a:lumMod val="100000"/>
                </a:schemeClr>
              </a:solidFill>
              <a:latin typeface="Trebuchet MS" panose="020B0603020202020204" pitchFamily="34" charset="0"/>
            </a:endParaRPr>
          </a:p>
        </p:txBody>
      </p:sp>
      <p:sp>
        <p:nvSpPr>
          <p:cNvPr id="54" name="Content Placeholder 5"/>
          <p:cNvSpPr txBox="1">
            <a:spLocks/>
          </p:cNvSpPr>
          <p:nvPr/>
        </p:nvSpPr>
        <p:spPr>
          <a:xfrm>
            <a:off x="6076908" y="3858053"/>
            <a:ext cx="1712924" cy="180508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Aft>
                <a:spcPts val="0"/>
              </a:spcAft>
              <a:buSzPct val="100000"/>
              <a:buFont typeface="Trebuchet MS" panose="020B0603020202020204" pitchFamily="34" charset="0"/>
              <a:buChar char="​"/>
            </a:pPr>
            <a:r>
              <a:rPr lang="en-US" altLang="fr-FR" sz="1600">
                <a:solidFill>
                  <a:schemeClr val="tx1">
                    <a:lumMod val="100000"/>
                  </a:schemeClr>
                </a:solidFill>
                <a:latin typeface="Trebuchet MS" panose="020B0603020202020204" pitchFamily="34" charset="0"/>
              </a:rPr>
              <a:t>Process, clean, analyse large volumes of data in a short timeframe…</a:t>
            </a:r>
            <a:endParaRPr lang="en-US" altLang="fr-FR" sz="1600" dirty="0">
              <a:solidFill>
                <a:schemeClr val="tx1">
                  <a:lumMod val="100000"/>
                </a:schemeClr>
              </a:solidFill>
              <a:latin typeface="Trebuchet MS" panose="020B0603020202020204" pitchFamily="34" charset="0"/>
            </a:endParaRPr>
          </a:p>
        </p:txBody>
      </p:sp>
      <p:sp>
        <p:nvSpPr>
          <p:cNvPr id="55" name="Content Placeholder 5"/>
          <p:cNvSpPr txBox="1">
            <a:spLocks/>
          </p:cNvSpPr>
          <p:nvPr/>
        </p:nvSpPr>
        <p:spPr>
          <a:xfrm>
            <a:off x="7981659" y="3858053"/>
            <a:ext cx="1712924" cy="180508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Aft>
                <a:spcPts val="0"/>
              </a:spcAft>
              <a:buSzPct val="100000"/>
              <a:buFont typeface="Trebuchet MS" panose="020B0603020202020204" pitchFamily="34" charset="0"/>
              <a:buChar char="​"/>
            </a:pPr>
            <a:r>
              <a:rPr lang="en-US" altLang="fr-FR" sz="1600">
                <a:solidFill>
                  <a:schemeClr val="tx1">
                    <a:lumMod val="100000"/>
                  </a:schemeClr>
                </a:solidFill>
                <a:latin typeface="Trebuchet MS" panose="020B0603020202020204" pitchFamily="34" charset="0"/>
              </a:rPr>
              <a:t>... to formulate recommendations ...</a:t>
            </a:r>
            <a:endParaRPr lang="en-US" altLang="fr-FR" sz="1600" dirty="0">
              <a:solidFill>
                <a:schemeClr val="tx1">
                  <a:lumMod val="100000"/>
                </a:schemeClr>
              </a:solidFill>
              <a:latin typeface="Trebuchet MS" panose="020B0603020202020204" pitchFamily="34" charset="0"/>
            </a:endParaRPr>
          </a:p>
        </p:txBody>
      </p:sp>
      <p:sp>
        <p:nvSpPr>
          <p:cNvPr id="56" name="Content Placeholder 5"/>
          <p:cNvSpPr txBox="1">
            <a:spLocks/>
          </p:cNvSpPr>
          <p:nvPr/>
        </p:nvSpPr>
        <p:spPr>
          <a:xfrm>
            <a:off x="9886410" y="3858053"/>
            <a:ext cx="1712924" cy="180508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Aft>
                <a:spcPts val="0"/>
              </a:spcAft>
              <a:buSzPct val="100000"/>
              <a:buFont typeface="Trebuchet MS" panose="020B0603020202020204" pitchFamily="34" charset="0"/>
              <a:buChar char="​"/>
            </a:pPr>
            <a:r>
              <a:rPr lang="en-US" altLang="fr-FR" sz="1600">
                <a:solidFill>
                  <a:schemeClr val="tx1">
                    <a:lumMod val="100000"/>
                  </a:schemeClr>
                </a:solidFill>
                <a:latin typeface="Trebuchet MS" panose="020B0603020202020204" pitchFamily="34" charset="0"/>
              </a:rPr>
              <a:t>... And present them in front of a senior audience</a:t>
            </a:r>
            <a:endParaRPr lang="en-US" altLang="fr-FR" sz="1600" dirty="0">
              <a:solidFill>
                <a:schemeClr val="tx1">
                  <a:lumMod val="100000"/>
                </a:schemeClr>
              </a:solidFill>
              <a:latin typeface="Trebuchet MS" panose="020B0603020202020204" pitchFamily="34" charset="0"/>
            </a:endParaRPr>
          </a:p>
        </p:txBody>
      </p:sp>
    </p:spTree>
    <p:extLst>
      <p:ext uri="{BB962C8B-B14F-4D97-AF65-F5344CB8AC3E}">
        <p14:creationId xmlns:p14="http://schemas.microsoft.com/office/powerpoint/2010/main" val="1728862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718" name="think-cell Slide" r:id="rId8" imgW="473" imgH="473" progId="TCLayout.ActiveDocument.1">
                  <p:embed/>
                </p:oleObj>
              </mc:Choice>
              <mc:Fallback>
                <p:oleObj name="think-cell Slide" r:id="rId8" imgW="473" imgH="473"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94" name="ee4pContent1"/>
          <p:cNvSpPr txBox="1"/>
          <p:nvPr/>
        </p:nvSpPr>
        <p:spPr>
          <a:xfrm>
            <a:off x="1708205" y="1679357"/>
            <a:ext cx="9800304" cy="738664"/>
          </a:xfrm>
          <a:prstGeom prst="rect">
            <a:avLst/>
          </a:prstGeom>
          <a:ln cap="rnd">
            <a:noFill/>
          </a:ln>
        </p:spPr>
        <p:txBody>
          <a:bodyPr vert="horz" wrap="square" lIns="0" tIns="0" rIns="0" bIns="0" rtlCol="0" anchor="ctr">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600" dirty="0" err="1">
                <a:solidFill>
                  <a:schemeClr val="tx1">
                    <a:lumMod val="100000"/>
                  </a:schemeClr>
                </a:solidFill>
              </a:rPr>
              <a:t>ClientCo</a:t>
            </a:r>
            <a:r>
              <a:rPr lang="en-US" sz="1600" dirty="0">
                <a:solidFill>
                  <a:schemeClr val="tx1">
                    <a:lumMod val="100000"/>
                  </a:schemeClr>
                </a:solidFill>
              </a:rPr>
              <a:t> is a private international construction materials distributor</a:t>
            </a:r>
          </a:p>
          <a:p>
            <a:pPr lvl="1">
              <a:buClr>
                <a:schemeClr val="tx2">
                  <a:lumMod val="100000"/>
                </a:schemeClr>
              </a:buClr>
              <a:buSzPct val="100000"/>
            </a:pPr>
            <a:r>
              <a:rPr lang="en-US" sz="1600" dirty="0">
                <a:solidFill>
                  <a:schemeClr val="tx1">
                    <a:lumMod val="100000"/>
                  </a:schemeClr>
                </a:solidFill>
              </a:rPr>
              <a:t>The new Chief Data Officer (</a:t>
            </a:r>
            <a:r>
              <a:rPr lang="en-US" sz="1600" dirty="0" err="1">
                <a:solidFill>
                  <a:schemeClr val="tx1">
                    <a:lumMod val="100000"/>
                  </a:schemeClr>
                </a:solidFill>
              </a:rPr>
              <a:t>CDO</a:t>
            </a:r>
            <a:r>
              <a:rPr lang="en-US" sz="1600" dirty="0">
                <a:solidFill>
                  <a:schemeClr val="tx1">
                    <a:lumMod val="100000"/>
                  </a:schemeClr>
                </a:solidFill>
              </a:rPr>
              <a:t>) has contacted you to help her convince the CEO of the value of advanced data and analytics, and develop value-added data programs </a:t>
            </a:r>
          </a:p>
        </p:txBody>
      </p:sp>
      <p:sp>
        <p:nvSpPr>
          <p:cNvPr id="62" name="ee4pContent2"/>
          <p:cNvSpPr txBox="1"/>
          <p:nvPr/>
        </p:nvSpPr>
        <p:spPr>
          <a:xfrm>
            <a:off x="1708205" y="2622803"/>
            <a:ext cx="9800304" cy="98488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600" dirty="0">
                <a:solidFill>
                  <a:schemeClr val="tx1">
                    <a:lumMod val="100000"/>
                  </a:schemeClr>
                </a:solidFill>
              </a:rPr>
              <a:t>To help her, you will need to identify an exhaustive list of possible data use cases (8-10) and determine which would be most suitable and strategic given </a:t>
            </a:r>
            <a:r>
              <a:rPr lang="en-US" sz="1600" dirty="0" err="1">
                <a:solidFill>
                  <a:schemeClr val="tx1">
                    <a:lumMod val="100000"/>
                  </a:schemeClr>
                </a:solidFill>
              </a:rPr>
              <a:t>ClientCo's</a:t>
            </a:r>
            <a:r>
              <a:rPr lang="en-US" sz="1600" dirty="0">
                <a:solidFill>
                  <a:schemeClr val="tx1">
                    <a:lumMod val="100000"/>
                  </a:schemeClr>
                </a:solidFill>
              </a:rPr>
              <a:t> activity and internal context</a:t>
            </a:r>
          </a:p>
          <a:p>
            <a:pPr lvl="1">
              <a:buClr>
                <a:schemeClr val="tx2">
                  <a:lumMod val="100000"/>
                </a:schemeClr>
              </a:buClr>
              <a:buSzPct val="100000"/>
            </a:pPr>
            <a:r>
              <a:rPr lang="en-US" sz="1600" dirty="0">
                <a:solidFill>
                  <a:schemeClr val="tx1">
                    <a:lumMod val="100000"/>
                  </a:schemeClr>
                </a:solidFill>
              </a:rPr>
              <a:t>You will select the top three priority use cases to present a concrete on-year implementation roadmap, and deep-dive into the first one</a:t>
            </a:r>
          </a:p>
        </p:txBody>
      </p:sp>
      <p:sp>
        <p:nvSpPr>
          <p:cNvPr id="3" name="Title 2"/>
          <p:cNvSpPr>
            <a:spLocks noGrp="1"/>
          </p:cNvSpPr>
          <p:nvPr>
            <p:ph type="title"/>
          </p:nvPr>
        </p:nvSpPr>
        <p:spPr>
          <a:xfrm>
            <a:off x="630000" y="622800"/>
            <a:ext cx="10933200" cy="470898"/>
          </a:xfrm>
          <a:prstGeom prst="rect">
            <a:avLst/>
          </a:prstGeom>
        </p:spPr>
        <p:txBody>
          <a:bodyPr>
            <a:spAutoFit/>
          </a:bodyPr>
          <a:lstStyle/>
          <a:p>
            <a:r>
              <a:rPr lang="en-US" dirty="0"/>
              <a:t>Case brief</a:t>
            </a:r>
          </a:p>
        </p:txBody>
      </p:sp>
      <p:grpSp>
        <p:nvGrpSpPr>
          <p:cNvPr id="33" name="Group 32"/>
          <p:cNvGrpSpPr>
            <a:grpSpLocks noChangeAspect="1"/>
          </p:cNvGrpSpPr>
          <p:nvPr/>
        </p:nvGrpSpPr>
        <p:grpSpPr>
          <a:xfrm>
            <a:off x="559770" y="2625786"/>
            <a:ext cx="785928" cy="785928"/>
            <a:chOff x="5273675" y="2606675"/>
            <a:chExt cx="1644650" cy="1644650"/>
          </a:xfrm>
        </p:grpSpPr>
        <p:sp>
          <p:nvSpPr>
            <p:cNvPr id="34"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p:cNvGrpSpPr/>
            <p:nvPr/>
          </p:nvGrpSpPr>
          <p:grpSpPr>
            <a:xfrm>
              <a:off x="5443538" y="2776538"/>
              <a:ext cx="1304925" cy="1304925"/>
              <a:chOff x="5443538" y="2776538"/>
              <a:chExt cx="1304925" cy="1304925"/>
            </a:xfrm>
          </p:grpSpPr>
          <p:sp>
            <p:nvSpPr>
              <p:cNvPr id="36" name="Freeform 35"/>
              <p:cNvSpPr>
                <a:spLocks noEditPoints="1"/>
              </p:cNvSpPr>
              <p:nvPr/>
            </p:nvSpPr>
            <p:spPr bwMode="auto">
              <a:xfrm>
                <a:off x="5443538" y="2776538"/>
                <a:ext cx="1304925" cy="1304925"/>
              </a:xfrm>
              <a:custGeom>
                <a:avLst/>
                <a:gdLst>
                  <a:gd name="T0" fmla="*/ 1784 w 1828"/>
                  <a:gd name="T1" fmla="*/ 870 h 1828"/>
                  <a:gd name="T2" fmla="*/ 1669 w 1828"/>
                  <a:gd name="T3" fmla="*/ 870 h 1828"/>
                  <a:gd name="T4" fmla="*/ 958 w 1828"/>
                  <a:gd name="T5" fmla="*/ 159 h 1828"/>
                  <a:gd name="T6" fmla="*/ 958 w 1828"/>
                  <a:gd name="T7" fmla="*/ 44 h 1828"/>
                  <a:gd name="T8" fmla="*/ 914 w 1828"/>
                  <a:gd name="T9" fmla="*/ 0 h 1828"/>
                  <a:gd name="T10" fmla="*/ 870 w 1828"/>
                  <a:gd name="T11" fmla="*/ 44 h 1828"/>
                  <a:gd name="T12" fmla="*/ 870 w 1828"/>
                  <a:gd name="T13" fmla="*/ 159 h 1828"/>
                  <a:gd name="T14" fmla="*/ 159 w 1828"/>
                  <a:gd name="T15" fmla="*/ 870 h 1828"/>
                  <a:gd name="T16" fmla="*/ 44 w 1828"/>
                  <a:gd name="T17" fmla="*/ 870 h 1828"/>
                  <a:gd name="T18" fmla="*/ 0 w 1828"/>
                  <a:gd name="T19" fmla="*/ 914 h 1828"/>
                  <a:gd name="T20" fmla="*/ 44 w 1828"/>
                  <a:gd name="T21" fmla="*/ 958 h 1828"/>
                  <a:gd name="T22" fmla="*/ 159 w 1828"/>
                  <a:gd name="T23" fmla="*/ 958 h 1828"/>
                  <a:gd name="T24" fmla="*/ 870 w 1828"/>
                  <a:gd name="T25" fmla="*/ 1669 h 1828"/>
                  <a:gd name="T26" fmla="*/ 870 w 1828"/>
                  <a:gd name="T27" fmla="*/ 1784 h 1828"/>
                  <a:gd name="T28" fmla="*/ 914 w 1828"/>
                  <a:gd name="T29" fmla="*/ 1828 h 1828"/>
                  <a:gd name="T30" fmla="*/ 958 w 1828"/>
                  <a:gd name="T31" fmla="*/ 1784 h 1828"/>
                  <a:gd name="T32" fmla="*/ 958 w 1828"/>
                  <a:gd name="T33" fmla="*/ 1669 h 1828"/>
                  <a:gd name="T34" fmla="*/ 1669 w 1828"/>
                  <a:gd name="T35" fmla="*/ 958 h 1828"/>
                  <a:gd name="T36" fmla="*/ 1784 w 1828"/>
                  <a:gd name="T37" fmla="*/ 958 h 1828"/>
                  <a:gd name="T38" fmla="*/ 1828 w 1828"/>
                  <a:gd name="T39" fmla="*/ 914 h 1828"/>
                  <a:gd name="T40" fmla="*/ 1784 w 1828"/>
                  <a:gd name="T41" fmla="*/ 870 h 1828"/>
                  <a:gd name="T42" fmla="*/ 1625 w 1828"/>
                  <a:gd name="T43" fmla="*/ 870 h 1828"/>
                  <a:gd name="T44" fmla="*/ 1508 w 1828"/>
                  <a:gd name="T45" fmla="*/ 870 h 1828"/>
                  <a:gd name="T46" fmla="*/ 1505 w 1828"/>
                  <a:gd name="T47" fmla="*/ 870 h 1828"/>
                  <a:gd name="T48" fmla="*/ 958 w 1828"/>
                  <a:gd name="T49" fmla="*/ 322 h 1828"/>
                  <a:gd name="T50" fmla="*/ 958 w 1828"/>
                  <a:gd name="T51" fmla="*/ 319 h 1828"/>
                  <a:gd name="T52" fmla="*/ 958 w 1828"/>
                  <a:gd name="T53" fmla="*/ 203 h 1828"/>
                  <a:gd name="T54" fmla="*/ 1625 w 1828"/>
                  <a:gd name="T55" fmla="*/ 870 h 1828"/>
                  <a:gd name="T56" fmla="*/ 914 w 1828"/>
                  <a:gd name="T57" fmla="*/ 1463 h 1828"/>
                  <a:gd name="T58" fmla="*/ 364 w 1828"/>
                  <a:gd name="T59" fmla="*/ 914 h 1828"/>
                  <a:gd name="T60" fmla="*/ 914 w 1828"/>
                  <a:gd name="T61" fmla="*/ 364 h 1828"/>
                  <a:gd name="T62" fmla="*/ 1463 w 1828"/>
                  <a:gd name="T63" fmla="*/ 914 h 1828"/>
                  <a:gd name="T64" fmla="*/ 914 w 1828"/>
                  <a:gd name="T65" fmla="*/ 1463 h 1828"/>
                  <a:gd name="T66" fmla="*/ 870 w 1828"/>
                  <a:gd name="T67" fmla="*/ 203 h 1828"/>
                  <a:gd name="T68" fmla="*/ 870 w 1828"/>
                  <a:gd name="T69" fmla="*/ 319 h 1828"/>
                  <a:gd name="T70" fmla="*/ 870 w 1828"/>
                  <a:gd name="T71" fmla="*/ 322 h 1828"/>
                  <a:gd name="T72" fmla="*/ 322 w 1828"/>
                  <a:gd name="T73" fmla="*/ 870 h 1828"/>
                  <a:gd name="T74" fmla="*/ 319 w 1828"/>
                  <a:gd name="T75" fmla="*/ 870 h 1828"/>
                  <a:gd name="T76" fmla="*/ 203 w 1828"/>
                  <a:gd name="T77" fmla="*/ 870 h 1828"/>
                  <a:gd name="T78" fmla="*/ 870 w 1828"/>
                  <a:gd name="T79" fmla="*/ 203 h 1828"/>
                  <a:gd name="T80" fmla="*/ 203 w 1828"/>
                  <a:gd name="T81" fmla="*/ 958 h 1828"/>
                  <a:gd name="T82" fmla="*/ 319 w 1828"/>
                  <a:gd name="T83" fmla="*/ 958 h 1828"/>
                  <a:gd name="T84" fmla="*/ 322 w 1828"/>
                  <a:gd name="T85" fmla="*/ 958 h 1828"/>
                  <a:gd name="T86" fmla="*/ 870 w 1828"/>
                  <a:gd name="T87" fmla="*/ 1505 h 1828"/>
                  <a:gd name="T88" fmla="*/ 870 w 1828"/>
                  <a:gd name="T89" fmla="*/ 1508 h 1828"/>
                  <a:gd name="T90" fmla="*/ 870 w 1828"/>
                  <a:gd name="T91" fmla="*/ 1625 h 1828"/>
                  <a:gd name="T92" fmla="*/ 203 w 1828"/>
                  <a:gd name="T93" fmla="*/ 958 h 1828"/>
                  <a:gd name="T94" fmla="*/ 958 w 1828"/>
                  <a:gd name="T95" fmla="*/ 1625 h 1828"/>
                  <a:gd name="T96" fmla="*/ 958 w 1828"/>
                  <a:gd name="T97" fmla="*/ 1508 h 1828"/>
                  <a:gd name="T98" fmla="*/ 958 w 1828"/>
                  <a:gd name="T99" fmla="*/ 1505 h 1828"/>
                  <a:gd name="T100" fmla="*/ 1505 w 1828"/>
                  <a:gd name="T101" fmla="*/ 958 h 1828"/>
                  <a:gd name="T102" fmla="*/ 1508 w 1828"/>
                  <a:gd name="T103" fmla="*/ 958 h 1828"/>
                  <a:gd name="T104" fmla="*/ 1625 w 1828"/>
                  <a:gd name="T105" fmla="*/ 958 h 1828"/>
                  <a:gd name="T106" fmla="*/ 958 w 1828"/>
                  <a:gd name="T107" fmla="*/ 1625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28" h="1828">
                    <a:moveTo>
                      <a:pt x="1784" y="870"/>
                    </a:moveTo>
                    <a:cubicBezTo>
                      <a:pt x="1669" y="870"/>
                      <a:pt x="1669" y="870"/>
                      <a:pt x="1669" y="870"/>
                    </a:cubicBezTo>
                    <a:cubicBezTo>
                      <a:pt x="1647" y="487"/>
                      <a:pt x="1341" y="181"/>
                      <a:pt x="958" y="159"/>
                    </a:cubicBezTo>
                    <a:cubicBezTo>
                      <a:pt x="958" y="44"/>
                      <a:pt x="958" y="44"/>
                      <a:pt x="958" y="44"/>
                    </a:cubicBezTo>
                    <a:cubicBezTo>
                      <a:pt x="958" y="20"/>
                      <a:pt x="938" y="0"/>
                      <a:pt x="914" y="0"/>
                    </a:cubicBezTo>
                    <a:cubicBezTo>
                      <a:pt x="890" y="0"/>
                      <a:pt x="870" y="20"/>
                      <a:pt x="870" y="44"/>
                    </a:cubicBezTo>
                    <a:cubicBezTo>
                      <a:pt x="870" y="159"/>
                      <a:pt x="870" y="159"/>
                      <a:pt x="870" y="159"/>
                    </a:cubicBezTo>
                    <a:cubicBezTo>
                      <a:pt x="487" y="181"/>
                      <a:pt x="181" y="487"/>
                      <a:pt x="159" y="870"/>
                    </a:cubicBezTo>
                    <a:cubicBezTo>
                      <a:pt x="44" y="870"/>
                      <a:pt x="44" y="870"/>
                      <a:pt x="44" y="870"/>
                    </a:cubicBezTo>
                    <a:cubicBezTo>
                      <a:pt x="20" y="870"/>
                      <a:pt x="0" y="890"/>
                      <a:pt x="0" y="914"/>
                    </a:cubicBezTo>
                    <a:cubicBezTo>
                      <a:pt x="0" y="938"/>
                      <a:pt x="20" y="958"/>
                      <a:pt x="44" y="958"/>
                    </a:cubicBezTo>
                    <a:cubicBezTo>
                      <a:pt x="159" y="958"/>
                      <a:pt x="159" y="958"/>
                      <a:pt x="159" y="958"/>
                    </a:cubicBezTo>
                    <a:cubicBezTo>
                      <a:pt x="181" y="1341"/>
                      <a:pt x="487" y="1647"/>
                      <a:pt x="870" y="1669"/>
                    </a:cubicBezTo>
                    <a:cubicBezTo>
                      <a:pt x="870" y="1784"/>
                      <a:pt x="870" y="1784"/>
                      <a:pt x="870" y="1784"/>
                    </a:cubicBezTo>
                    <a:cubicBezTo>
                      <a:pt x="870" y="1808"/>
                      <a:pt x="890" y="1828"/>
                      <a:pt x="914" y="1828"/>
                    </a:cubicBezTo>
                    <a:cubicBezTo>
                      <a:pt x="938" y="1828"/>
                      <a:pt x="958" y="1808"/>
                      <a:pt x="958" y="1784"/>
                    </a:cubicBezTo>
                    <a:cubicBezTo>
                      <a:pt x="958" y="1669"/>
                      <a:pt x="958" y="1669"/>
                      <a:pt x="958" y="1669"/>
                    </a:cubicBezTo>
                    <a:cubicBezTo>
                      <a:pt x="1341" y="1647"/>
                      <a:pt x="1647" y="1341"/>
                      <a:pt x="1669" y="958"/>
                    </a:cubicBezTo>
                    <a:cubicBezTo>
                      <a:pt x="1784" y="958"/>
                      <a:pt x="1784" y="958"/>
                      <a:pt x="1784" y="958"/>
                    </a:cubicBezTo>
                    <a:cubicBezTo>
                      <a:pt x="1808" y="958"/>
                      <a:pt x="1828" y="938"/>
                      <a:pt x="1828" y="914"/>
                    </a:cubicBezTo>
                    <a:cubicBezTo>
                      <a:pt x="1828" y="890"/>
                      <a:pt x="1808" y="870"/>
                      <a:pt x="1784" y="870"/>
                    </a:cubicBezTo>
                    <a:close/>
                    <a:moveTo>
                      <a:pt x="1625" y="870"/>
                    </a:moveTo>
                    <a:cubicBezTo>
                      <a:pt x="1508" y="870"/>
                      <a:pt x="1508" y="870"/>
                      <a:pt x="1508" y="870"/>
                    </a:cubicBezTo>
                    <a:cubicBezTo>
                      <a:pt x="1507" y="870"/>
                      <a:pt x="1506" y="870"/>
                      <a:pt x="1505" y="870"/>
                    </a:cubicBezTo>
                    <a:cubicBezTo>
                      <a:pt x="1484" y="577"/>
                      <a:pt x="1251" y="343"/>
                      <a:pt x="958" y="322"/>
                    </a:cubicBezTo>
                    <a:cubicBezTo>
                      <a:pt x="958" y="321"/>
                      <a:pt x="958" y="320"/>
                      <a:pt x="958" y="319"/>
                    </a:cubicBezTo>
                    <a:cubicBezTo>
                      <a:pt x="958" y="203"/>
                      <a:pt x="958" y="203"/>
                      <a:pt x="958" y="203"/>
                    </a:cubicBezTo>
                    <a:cubicBezTo>
                      <a:pt x="1316" y="225"/>
                      <a:pt x="1603" y="512"/>
                      <a:pt x="1625" y="870"/>
                    </a:cubicBezTo>
                    <a:close/>
                    <a:moveTo>
                      <a:pt x="914" y="1463"/>
                    </a:moveTo>
                    <a:cubicBezTo>
                      <a:pt x="611" y="1463"/>
                      <a:pt x="364" y="1217"/>
                      <a:pt x="364" y="914"/>
                    </a:cubicBezTo>
                    <a:cubicBezTo>
                      <a:pt x="364" y="611"/>
                      <a:pt x="611" y="364"/>
                      <a:pt x="914" y="364"/>
                    </a:cubicBezTo>
                    <a:cubicBezTo>
                      <a:pt x="1217" y="364"/>
                      <a:pt x="1463" y="611"/>
                      <a:pt x="1463" y="914"/>
                    </a:cubicBezTo>
                    <a:cubicBezTo>
                      <a:pt x="1463" y="1217"/>
                      <a:pt x="1217" y="1463"/>
                      <a:pt x="914" y="1463"/>
                    </a:cubicBezTo>
                    <a:close/>
                    <a:moveTo>
                      <a:pt x="870" y="203"/>
                    </a:moveTo>
                    <a:cubicBezTo>
                      <a:pt x="870" y="319"/>
                      <a:pt x="870" y="319"/>
                      <a:pt x="870" y="319"/>
                    </a:cubicBezTo>
                    <a:cubicBezTo>
                      <a:pt x="870" y="320"/>
                      <a:pt x="870" y="321"/>
                      <a:pt x="870" y="322"/>
                    </a:cubicBezTo>
                    <a:cubicBezTo>
                      <a:pt x="577" y="343"/>
                      <a:pt x="343" y="577"/>
                      <a:pt x="322" y="870"/>
                    </a:cubicBezTo>
                    <a:cubicBezTo>
                      <a:pt x="321" y="870"/>
                      <a:pt x="320" y="870"/>
                      <a:pt x="319" y="870"/>
                    </a:cubicBezTo>
                    <a:cubicBezTo>
                      <a:pt x="203" y="870"/>
                      <a:pt x="203" y="870"/>
                      <a:pt x="203" y="870"/>
                    </a:cubicBezTo>
                    <a:cubicBezTo>
                      <a:pt x="225" y="512"/>
                      <a:pt x="512" y="225"/>
                      <a:pt x="870" y="203"/>
                    </a:cubicBezTo>
                    <a:close/>
                    <a:moveTo>
                      <a:pt x="203" y="958"/>
                    </a:moveTo>
                    <a:cubicBezTo>
                      <a:pt x="319" y="958"/>
                      <a:pt x="319" y="958"/>
                      <a:pt x="319" y="958"/>
                    </a:cubicBezTo>
                    <a:cubicBezTo>
                      <a:pt x="320" y="958"/>
                      <a:pt x="321" y="958"/>
                      <a:pt x="322" y="958"/>
                    </a:cubicBezTo>
                    <a:cubicBezTo>
                      <a:pt x="343" y="1251"/>
                      <a:pt x="577" y="1484"/>
                      <a:pt x="870" y="1505"/>
                    </a:cubicBezTo>
                    <a:cubicBezTo>
                      <a:pt x="870" y="1506"/>
                      <a:pt x="870" y="1507"/>
                      <a:pt x="870" y="1508"/>
                    </a:cubicBezTo>
                    <a:cubicBezTo>
                      <a:pt x="870" y="1625"/>
                      <a:pt x="870" y="1625"/>
                      <a:pt x="870" y="1625"/>
                    </a:cubicBezTo>
                    <a:cubicBezTo>
                      <a:pt x="512" y="1603"/>
                      <a:pt x="225" y="1316"/>
                      <a:pt x="203" y="958"/>
                    </a:cubicBezTo>
                    <a:close/>
                    <a:moveTo>
                      <a:pt x="958" y="1625"/>
                    </a:moveTo>
                    <a:cubicBezTo>
                      <a:pt x="958" y="1508"/>
                      <a:pt x="958" y="1508"/>
                      <a:pt x="958" y="1508"/>
                    </a:cubicBezTo>
                    <a:cubicBezTo>
                      <a:pt x="958" y="1507"/>
                      <a:pt x="958" y="1506"/>
                      <a:pt x="958" y="1505"/>
                    </a:cubicBezTo>
                    <a:cubicBezTo>
                      <a:pt x="1251" y="1484"/>
                      <a:pt x="1484" y="1251"/>
                      <a:pt x="1505" y="958"/>
                    </a:cubicBezTo>
                    <a:cubicBezTo>
                      <a:pt x="1506" y="958"/>
                      <a:pt x="1507" y="958"/>
                      <a:pt x="1508" y="958"/>
                    </a:cubicBezTo>
                    <a:cubicBezTo>
                      <a:pt x="1625" y="958"/>
                      <a:pt x="1625" y="958"/>
                      <a:pt x="1625" y="958"/>
                    </a:cubicBezTo>
                    <a:cubicBezTo>
                      <a:pt x="1603" y="1316"/>
                      <a:pt x="1316" y="1603"/>
                      <a:pt x="958" y="162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6"/>
              <p:cNvSpPr>
                <a:spLocks/>
              </p:cNvSpPr>
              <p:nvPr/>
            </p:nvSpPr>
            <p:spPr bwMode="auto">
              <a:xfrm>
                <a:off x="5919788" y="3254375"/>
                <a:ext cx="350838" cy="349250"/>
              </a:xfrm>
              <a:custGeom>
                <a:avLst/>
                <a:gdLst>
                  <a:gd name="T0" fmla="*/ 446 w 490"/>
                  <a:gd name="T1" fmla="*/ 201 h 490"/>
                  <a:gd name="T2" fmla="*/ 289 w 490"/>
                  <a:gd name="T3" fmla="*/ 201 h 490"/>
                  <a:gd name="T4" fmla="*/ 289 w 490"/>
                  <a:gd name="T5" fmla="*/ 44 h 490"/>
                  <a:gd name="T6" fmla="*/ 245 w 490"/>
                  <a:gd name="T7" fmla="*/ 0 h 490"/>
                  <a:gd name="T8" fmla="*/ 201 w 490"/>
                  <a:gd name="T9" fmla="*/ 44 h 490"/>
                  <a:gd name="T10" fmla="*/ 201 w 490"/>
                  <a:gd name="T11" fmla="*/ 201 h 490"/>
                  <a:gd name="T12" fmla="*/ 44 w 490"/>
                  <a:gd name="T13" fmla="*/ 201 h 490"/>
                  <a:gd name="T14" fmla="*/ 0 w 490"/>
                  <a:gd name="T15" fmla="*/ 245 h 490"/>
                  <a:gd name="T16" fmla="*/ 44 w 490"/>
                  <a:gd name="T17" fmla="*/ 289 h 490"/>
                  <a:gd name="T18" fmla="*/ 201 w 490"/>
                  <a:gd name="T19" fmla="*/ 289 h 490"/>
                  <a:gd name="T20" fmla="*/ 201 w 490"/>
                  <a:gd name="T21" fmla="*/ 446 h 490"/>
                  <a:gd name="T22" fmla="*/ 245 w 490"/>
                  <a:gd name="T23" fmla="*/ 490 h 490"/>
                  <a:gd name="T24" fmla="*/ 289 w 490"/>
                  <a:gd name="T25" fmla="*/ 446 h 490"/>
                  <a:gd name="T26" fmla="*/ 289 w 490"/>
                  <a:gd name="T27" fmla="*/ 289 h 490"/>
                  <a:gd name="T28" fmla="*/ 446 w 490"/>
                  <a:gd name="T29" fmla="*/ 289 h 490"/>
                  <a:gd name="T30" fmla="*/ 490 w 490"/>
                  <a:gd name="T31" fmla="*/ 245 h 490"/>
                  <a:gd name="T32" fmla="*/ 446 w 490"/>
                  <a:gd name="T33" fmla="*/ 20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0" h="490">
                    <a:moveTo>
                      <a:pt x="446" y="201"/>
                    </a:moveTo>
                    <a:cubicBezTo>
                      <a:pt x="289" y="201"/>
                      <a:pt x="289" y="201"/>
                      <a:pt x="289" y="201"/>
                    </a:cubicBezTo>
                    <a:cubicBezTo>
                      <a:pt x="289" y="44"/>
                      <a:pt x="289" y="44"/>
                      <a:pt x="289" y="44"/>
                    </a:cubicBezTo>
                    <a:cubicBezTo>
                      <a:pt x="289" y="20"/>
                      <a:pt x="269" y="0"/>
                      <a:pt x="245" y="0"/>
                    </a:cubicBezTo>
                    <a:cubicBezTo>
                      <a:pt x="221" y="0"/>
                      <a:pt x="201" y="20"/>
                      <a:pt x="201" y="44"/>
                    </a:cubicBezTo>
                    <a:cubicBezTo>
                      <a:pt x="201" y="201"/>
                      <a:pt x="201" y="201"/>
                      <a:pt x="201" y="201"/>
                    </a:cubicBezTo>
                    <a:cubicBezTo>
                      <a:pt x="44" y="201"/>
                      <a:pt x="44" y="201"/>
                      <a:pt x="44" y="201"/>
                    </a:cubicBezTo>
                    <a:cubicBezTo>
                      <a:pt x="20" y="201"/>
                      <a:pt x="0" y="221"/>
                      <a:pt x="0" y="245"/>
                    </a:cubicBezTo>
                    <a:cubicBezTo>
                      <a:pt x="0" y="269"/>
                      <a:pt x="20" y="289"/>
                      <a:pt x="44" y="289"/>
                    </a:cubicBezTo>
                    <a:cubicBezTo>
                      <a:pt x="201" y="289"/>
                      <a:pt x="201" y="289"/>
                      <a:pt x="201" y="289"/>
                    </a:cubicBezTo>
                    <a:cubicBezTo>
                      <a:pt x="201" y="446"/>
                      <a:pt x="201" y="446"/>
                      <a:pt x="201" y="446"/>
                    </a:cubicBezTo>
                    <a:cubicBezTo>
                      <a:pt x="201" y="470"/>
                      <a:pt x="221" y="490"/>
                      <a:pt x="245" y="490"/>
                    </a:cubicBezTo>
                    <a:cubicBezTo>
                      <a:pt x="269" y="490"/>
                      <a:pt x="289" y="470"/>
                      <a:pt x="289" y="446"/>
                    </a:cubicBezTo>
                    <a:cubicBezTo>
                      <a:pt x="289" y="289"/>
                      <a:pt x="289" y="289"/>
                      <a:pt x="289" y="289"/>
                    </a:cubicBezTo>
                    <a:cubicBezTo>
                      <a:pt x="446" y="289"/>
                      <a:pt x="446" y="289"/>
                      <a:pt x="446" y="289"/>
                    </a:cubicBezTo>
                    <a:cubicBezTo>
                      <a:pt x="470" y="289"/>
                      <a:pt x="490" y="269"/>
                      <a:pt x="490" y="245"/>
                    </a:cubicBezTo>
                    <a:cubicBezTo>
                      <a:pt x="490" y="221"/>
                      <a:pt x="470" y="201"/>
                      <a:pt x="446" y="20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8" name="ee4pHeader2"/>
          <p:cNvSpPr txBox="1"/>
          <p:nvPr/>
        </p:nvSpPr>
        <p:spPr>
          <a:xfrm>
            <a:off x="400439" y="3356298"/>
            <a:ext cx="1104589" cy="246221"/>
          </a:xfrm>
          <a:prstGeom prst="rect">
            <a:avLst/>
          </a:prstGeom>
          <a:noFill/>
          <a:ln cap="rnd">
            <a:noFill/>
          </a:ln>
        </p:spPr>
        <p:txBody>
          <a:bodyPr wrap="square" lIns="0" tIns="0" rIns="0" bIns="0" rtlCol="0" anchor="ctr" anchorCtr="0">
            <a:spAutoFit/>
          </a:bodyPr>
          <a:lstStyle/>
          <a:p>
            <a:pPr marL="0" lvl="3" algn="ctr"/>
            <a:r>
              <a:rPr lang="en-US" sz="1600" dirty="0">
                <a:solidFill>
                  <a:schemeClr val="tx2"/>
                </a:solidFill>
              </a:rPr>
              <a:t>Your Mission</a:t>
            </a:r>
          </a:p>
        </p:txBody>
      </p:sp>
      <p:sp>
        <p:nvSpPr>
          <p:cNvPr id="66" name="ee4pHeader2"/>
          <p:cNvSpPr txBox="1"/>
          <p:nvPr/>
        </p:nvSpPr>
        <p:spPr>
          <a:xfrm>
            <a:off x="144119" y="4449934"/>
            <a:ext cx="1617229" cy="492443"/>
          </a:xfrm>
          <a:prstGeom prst="rect">
            <a:avLst/>
          </a:prstGeom>
          <a:noFill/>
          <a:ln cap="rnd">
            <a:noFill/>
          </a:ln>
        </p:spPr>
        <p:txBody>
          <a:bodyPr wrap="square" lIns="0" tIns="0" rIns="0" bIns="0" rtlCol="0" anchor="ctr" anchorCtr="0">
            <a:spAutoFit/>
          </a:bodyPr>
          <a:lstStyle/>
          <a:p>
            <a:pPr marL="0" lvl="3" algn="ctr"/>
            <a:r>
              <a:rPr lang="en-US" sz="1600" dirty="0">
                <a:solidFill>
                  <a:schemeClr val="tx2"/>
                </a:solidFill>
              </a:rPr>
              <a:t>Your deliverables</a:t>
            </a:r>
          </a:p>
        </p:txBody>
      </p:sp>
      <p:grpSp>
        <p:nvGrpSpPr>
          <p:cNvPr id="8" name="Group 7"/>
          <p:cNvGrpSpPr/>
          <p:nvPr/>
        </p:nvGrpSpPr>
        <p:grpSpPr>
          <a:xfrm>
            <a:off x="400439" y="5189683"/>
            <a:ext cx="1104589" cy="976733"/>
            <a:chOff x="7393109" y="290580"/>
            <a:chExt cx="1104589" cy="976733"/>
          </a:xfrm>
        </p:grpSpPr>
        <p:grpSp>
          <p:nvGrpSpPr>
            <p:cNvPr id="39" name="Group 38"/>
            <p:cNvGrpSpPr>
              <a:grpSpLocks noChangeAspect="1"/>
            </p:cNvGrpSpPr>
            <p:nvPr/>
          </p:nvGrpSpPr>
          <p:grpSpPr>
            <a:xfrm>
              <a:off x="7552440" y="290580"/>
              <a:ext cx="785928" cy="785928"/>
              <a:chOff x="5313363" y="2603659"/>
              <a:chExt cx="1646238" cy="1646237"/>
            </a:xfrm>
          </p:grpSpPr>
          <p:sp>
            <p:nvSpPr>
              <p:cNvPr id="40" name="AutoShape 3"/>
              <p:cNvSpPr>
                <a:spLocks noChangeAspect="1" noChangeArrowheads="1" noTextEdit="1"/>
              </p:cNvSpPr>
              <p:nvPr/>
            </p:nvSpPr>
            <p:spPr bwMode="auto">
              <a:xfrm>
                <a:off x="5313363" y="2603659"/>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1" name="Group 40"/>
              <p:cNvGrpSpPr/>
              <p:nvPr/>
            </p:nvGrpSpPr>
            <p:grpSpPr>
              <a:xfrm>
                <a:off x="5534819" y="2879090"/>
                <a:ext cx="1203325" cy="1095375"/>
                <a:chOff x="5534819" y="2879090"/>
                <a:chExt cx="1203325" cy="1095375"/>
              </a:xfrm>
            </p:grpSpPr>
            <p:sp>
              <p:nvSpPr>
                <p:cNvPr id="42" name="Freeform 41"/>
                <p:cNvSpPr>
                  <a:spLocks/>
                </p:cNvSpPr>
                <p:nvPr/>
              </p:nvSpPr>
              <p:spPr bwMode="auto">
                <a:xfrm>
                  <a:off x="5534819" y="2879090"/>
                  <a:ext cx="1203325" cy="1095375"/>
                </a:xfrm>
                <a:custGeom>
                  <a:avLst/>
                  <a:gdLst>
                    <a:gd name="connsiteX0" fmla="*/ 390485 w 1203325"/>
                    <a:gd name="connsiteY0" fmla="*/ 296862 h 1095375"/>
                    <a:gd name="connsiteX1" fmla="*/ 461963 w 1203325"/>
                    <a:gd name="connsiteY1" fmla="*/ 368340 h 1095375"/>
                    <a:gd name="connsiteX2" fmla="*/ 116011 w 1203325"/>
                    <a:gd name="connsiteY2" fmla="*/ 714291 h 1095375"/>
                    <a:gd name="connsiteX3" fmla="*/ 93853 w 1203325"/>
                    <a:gd name="connsiteY3" fmla="*/ 714291 h 1095375"/>
                    <a:gd name="connsiteX4" fmla="*/ 44533 w 1203325"/>
                    <a:gd name="connsiteY4" fmla="*/ 665686 h 1095375"/>
                    <a:gd name="connsiteX5" fmla="*/ 44533 w 1203325"/>
                    <a:gd name="connsiteY5" fmla="*/ 642814 h 1095375"/>
                    <a:gd name="connsiteX6" fmla="*/ 615071 w 1203325"/>
                    <a:gd name="connsiteY6" fmla="*/ 77625 h 1095375"/>
                    <a:gd name="connsiteX7" fmla="*/ 626569 w 1203325"/>
                    <a:gd name="connsiteY7" fmla="*/ 81902 h 1095375"/>
                    <a:gd name="connsiteX8" fmla="*/ 676157 w 1203325"/>
                    <a:gd name="connsiteY8" fmla="*/ 131082 h 1095375"/>
                    <a:gd name="connsiteX9" fmla="*/ 676157 w 1203325"/>
                    <a:gd name="connsiteY9" fmla="*/ 153890 h 1095375"/>
                    <a:gd name="connsiteX10" fmla="*/ 648129 w 1203325"/>
                    <a:gd name="connsiteY10" fmla="*/ 180975 h 1095375"/>
                    <a:gd name="connsiteX11" fmla="*/ 576262 w 1203325"/>
                    <a:gd name="connsiteY11" fmla="*/ 109699 h 1095375"/>
                    <a:gd name="connsiteX12" fmla="*/ 603572 w 1203325"/>
                    <a:gd name="connsiteY12" fmla="*/ 81902 h 1095375"/>
                    <a:gd name="connsiteX13" fmla="*/ 615071 w 1203325"/>
                    <a:gd name="connsiteY13" fmla="*/ 77625 h 1095375"/>
                    <a:gd name="connsiteX14" fmla="*/ 1203325 w 1203325"/>
                    <a:gd name="connsiteY14" fmla="*/ 0 h 1095375"/>
                    <a:gd name="connsiteX15" fmla="*/ 1203325 w 1203325"/>
                    <a:gd name="connsiteY15" fmla="*/ 1095375 h 1095375"/>
                    <a:gd name="connsiteX16" fmla="*/ 0 w 1203325"/>
                    <a:gd name="connsiteY16" fmla="*/ 1095375 h 1095375"/>
                    <a:gd name="connsiteX17" fmla="*/ 0 w 1203325"/>
                    <a:gd name="connsiteY17" fmla="*/ 852488 h 1095375"/>
                    <a:gd name="connsiteX18" fmla="*/ 223838 w 1203325"/>
                    <a:gd name="connsiteY18" fmla="*/ 962025 h 1095375"/>
                    <a:gd name="connsiteX19" fmla="*/ 461963 w 1203325"/>
                    <a:gd name="connsiteY19" fmla="*/ 898525 h 1095375"/>
                    <a:gd name="connsiteX20" fmla="*/ 628650 w 1203325"/>
                    <a:gd name="connsiteY20" fmla="*/ 758825 h 1095375"/>
                    <a:gd name="connsiteX21" fmla="*/ 869950 w 1203325"/>
                    <a:gd name="connsiteY21" fmla="*/ 815975 h 1095375"/>
                    <a:gd name="connsiteX22" fmla="*/ 958850 w 1203325"/>
                    <a:gd name="connsiteY22" fmla="*/ 676275 h 1095375"/>
                    <a:gd name="connsiteX23" fmla="*/ 958850 w 1203325"/>
                    <a:gd name="connsiteY23" fmla="*/ 504825 h 1095375"/>
                    <a:gd name="connsiteX24" fmla="*/ 1098550 w 1203325"/>
                    <a:gd name="connsiteY24" fmla="*/ 376238 h 1095375"/>
                    <a:gd name="connsiteX25" fmla="*/ 1049338 w 1203325"/>
                    <a:gd name="connsiteY25" fmla="*/ 14605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03325" h="1095375">
                      <a:moveTo>
                        <a:pt x="390485" y="296862"/>
                      </a:moveTo>
                      <a:cubicBezTo>
                        <a:pt x="461963" y="368340"/>
                        <a:pt x="461963" y="368340"/>
                        <a:pt x="461963" y="368340"/>
                      </a:cubicBezTo>
                      <a:cubicBezTo>
                        <a:pt x="116011" y="714291"/>
                        <a:pt x="116011" y="714291"/>
                        <a:pt x="116011" y="714291"/>
                      </a:cubicBezTo>
                      <a:cubicBezTo>
                        <a:pt x="109578" y="720724"/>
                        <a:pt x="99571" y="720724"/>
                        <a:pt x="93853" y="714291"/>
                      </a:cubicBezTo>
                      <a:cubicBezTo>
                        <a:pt x="44533" y="665686"/>
                        <a:pt x="44533" y="665686"/>
                        <a:pt x="44533" y="665686"/>
                      </a:cubicBezTo>
                      <a:cubicBezTo>
                        <a:pt x="38100" y="659253"/>
                        <a:pt x="38100" y="649247"/>
                        <a:pt x="44533" y="642814"/>
                      </a:cubicBezTo>
                      <a:close/>
                      <a:moveTo>
                        <a:pt x="615071" y="77625"/>
                      </a:moveTo>
                      <a:cubicBezTo>
                        <a:pt x="619203" y="77625"/>
                        <a:pt x="623335" y="79051"/>
                        <a:pt x="626569" y="81902"/>
                      </a:cubicBezTo>
                      <a:cubicBezTo>
                        <a:pt x="676157" y="131082"/>
                        <a:pt x="676157" y="131082"/>
                        <a:pt x="676157" y="131082"/>
                      </a:cubicBezTo>
                      <a:cubicBezTo>
                        <a:pt x="682625" y="137497"/>
                        <a:pt x="682625" y="147475"/>
                        <a:pt x="676157" y="153890"/>
                      </a:cubicBezTo>
                      <a:cubicBezTo>
                        <a:pt x="648129" y="180975"/>
                        <a:pt x="648129" y="180975"/>
                        <a:pt x="648129" y="180975"/>
                      </a:cubicBezTo>
                      <a:cubicBezTo>
                        <a:pt x="576262" y="109699"/>
                        <a:pt x="576262" y="109699"/>
                        <a:pt x="576262" y="109699"/>
                      </a:cubicBezTo>
                      <a:cubicBezTo>
                        <a:pt x="603572" y="81902"/>
                        <a:pt x="603572" y="81902"/>
                        <a:pt x="603572" y="81902"/>
                      </a:cubicBezTo>
                      <a:cubicBezTo>
                        <a:pt x="606806" y="79051"/>
                        <a:pt x="610938" y="77625"/>
                        <a:pt x="615071" y="77625"/>
                      </a:cubicBezTo>
                      <a:close/>
                      <a:moveTo>
                        <a:pt x="1203325" y="0"/>
                      </a:moveTo>
                      <a:lnTo>
                        <a:pt x="1203325" y="1095375"/>
                      </a:lnTo>
                      <a:lnTo>
                        <a:pt x="0" y="1095375"/>
                      </a:lnTo>
                      <a:lnTo>
                        <a:pt x="0" y="852488"/>
                      </a:lnTo>
                      <a:lnTo>
                        <a:pt x="223838" y="962025"/>
                      </a:lnTo>
                      <a:lnTo>
                        <a:pt x="461963" y="898525"/>
                      </a:lnTo>
                      <a:lnTo>
                        <a:pt x="628650" y="758825"/>
                      </a:lnTo>
                      <a:lnTo>
                        <a:pt x="869950" y="815975"/>
                      </a:lnTo>
                      <a:lnTo>
                        <a:pt x="958850" y="676275"/>
                      </a:lnTo>
                      <a:lnTo>
                        <a:pt x="958850" y="504825"/>
                      </a:lnTo>
                      <a:lnTo>
                        <a:pt x="1098550" y="376238"/>
                      </a:lnTo>
                      <a:lnTo>
                        <a:pt x="1049338" y="14605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3" name="Freeform 7"/>
                <p:cNvSpPr>
                  <a:spLocks/>
                </p:cNvSpPr>
                <p:nvPr/>
              </p:nvSpPr>
              <p:spPr bwMode="auto">
                <a:xfrm>
                  <a:off x="5753894" y="2907665"/>
                  <a:ext cx="512763" cy="509587"/>
                </a:xfrm>
                <a:custGeom>
                  <a:avLst/>
                  <a:gdLst>
                    <a:gd name="T0" fmla="*/ 665 w 716"/>
                    <a:gd name="T1" fmla="*/ 705 h 715"/>
                    <a:gd name="T2" fmla="*/ 411 w 716"/>
                    <a:gd name="T3" fmla="*/ 451 h 715"/>
                    <a:gd name="T4" fmla="*/ 397 w 716"/>
                    <a:gd name="T5" fmla="*/ 465 h 715"/>
                    <a:gd name="T6" fmla="*/ 373 w 716"/>
                    <a:gd name="T7" fmla="*/ 465 h 715"/>
                    <a:gd name="T8" fmla="*/ 243 w 716"/>
                    <a:gd name="T9" fmla="*/ 335 h 715"/>
                    <a:gd name="T10" fmla="*/ 243 w 716"/>
                    <a:gd name="T11" fmla="*/ 312 h 715"/>
                    <a:gd name="T12" fmla="*/ 258 w 716"/>
                    <a:gd name="T13" fmla="*/ 298 h 715"/>
                    <a:gd name="T14" fmla="*/ 10 w 716"/>
                    <a:gd name="T15" fmla="*/ 50 h 715"/>
                    <a:gd name="T16" fmla="*/ 18 w 716"/>
                    <a:gd name="T17" fmla="*/ 22 h 715"/>
                    <a:gd name="T18" fmla="*/ 416 w 716"/>
                    <a:gd name="T19" fmla="*/ 140 h 715"/>
                    <a:gd name="T20" fmla="*/ 435 w 716"/>
                    <a:gd name="T21" fmla="*/ 120 h 715"/>
                    <a:gd name="T22" fmla="*/ 458 w 716"/>
                    <a:gd name="T23" fmla="*/ 120 h 715"/>
                    <a:gd name="T24" fmla="*/ 588 w 716"/>
                    <a:gd name="T25" fmla="*/ 250 h 715"/>
                    <a:gd name="T26" fmla="*/ 588 w 716"/>
                    <a:gd name="T27" fmla="*/ 274 h 715"/>
                    <a:gd name="T28" fmla="*/ 570 w 716"/>
                    <a:gd name="T29" fmla="*/ 292 h 715"/>
                    <a:gd name="T30" fmla="*/ 693 w 716"/>
                    <a:gd name="T31" fmla="*/ 697 h 715"/>
                    <a:gd name="T32" fmla="*/ 665 w 716"/>
                    <a:gd name="T33" fmla="*/ 70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6" h="715">
                      <a:moveTo>
                        <a:pt x="665" y="705"/>
                      </a:moveTo>
                      <a:cubicBezTo>
                        <a:pt x="411" y="451"/>
                        <a:pt x="411" y="451"/>
                        <a:pt x="411" y="451"/>
                      </a:cubicBezTo>
                      <a:cubicBezTo>
                        <a:pt x="397" y="465"/>
                        <a:pt x="397" y="465"/>
                        <a:pt x="397" y="465"/>
                      </a:cubicBezTo>
                      <a:cubicBezTo>
                        <a:pt x="390" y="472"/>
                        <a:pt x="380" y="472"/>
                        <a:pt x="373" y="465"/>
                      </a:cubicBezTo>
                      <a:cubicBezTo>
                        <a:pt x="243" y="335"/>
                        <a:pt x="243" y="335"/>
                        <a:pt x="243" y="335"/>
                      </a:cubicBezTo>
                      <a:cubicBezTo>
                        <a:pt x="237" y="329"/>
                        <a:pt x="237" y="318"/>
                        <a:pt x="243" y="312"/>
                      </a:cubicBezTo>
                      <a:cubicBezTo>
                        <a:pt x="258" y="298"/>
                        <a:pt x="258" y="298"/>
                        <a:pt x="258" y="298"/>
                      </a:cubicBezTo>
                      <a:cubicBezTo>
                        <a:pt x="10" y="50"/>
                        <a:pt x="10" y="50"/>
                        <a:pt x="10" y="50"/>
                      </a:cubicBezTo>
                      <a:cubicBezTo>
                        <a:pt x="0" y="40"/>
                        <a:pt x="5" y="24"/>
                        <a:pt x="18" y="22"/>
                      </a:cubicBezTo>
                      <a:cubicBezTo>
                        <a:pt x="80" y="10"/>
                        <a:pt x="234" y="0"/>
                        <a:pt x="416" y="140"/>
                      </a:cubicBezTo>
                      <a:cubicBezTo>
                        <a:pt x="435" y="120"/>
                        <a:pt x="435" y="120"/>
                        <a:pt x="435" y="120"/>
                      </a:cubicBezTo>
                      <a:cubicBezTo>
                        <a:pt x="442" y="114"/>
                        <a:pt x="452" y="114"/>
                        <a:pt x="458" y="120"/>
                      </a:cubicBezTo>
                      <a:cubicBezTo>
                        <a:pt x="588" y="250"/>
                        <a:pt x="588" y="250"/>
                        <a:pt x="588" y="250"/>
                      </a:cubicBezTo>
                      <a:cubicBezTo>
                        <a:pt x="595" y="257"/>
                        <a:pt x="595" y="267"/>
                        <a:pt x="588" y="274"/>
                      </a:cubicBezTo>
                      <a:cubicBezTo>
                        <a:pt x="570" y="292"/>
                        <a:pt x="570" y="292"/>
                        <a:pt x="570" y="292"/>
                      </a:cubicBezTo>
                      <a:cubicBezTo>
                        <a:pt x="716" y="477"/>
                        <a:pt x="706" y="634"/>
                        <a:pt x="693" y="697"/>
                      </a:cubicBezTo>
                      <a:cubicBezTo>
                        <a:pt x="691" y="710"/>
                        <a:pt x="675" y="715"/>
                        <a:pt x="665" y="70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44" name="ee4pHeader2"/>
            <p:cNvSpPr txBox="1"/>
            <p:nvPr/>
          </p:nvSpPr>
          <p:spPr>
            <a:xfrm>
              <a:off x="7393109" y="1021092"/>
              <a:ext cx="1104589" cy="246221"/>
            </a:xfrm>
            <a:prstGeom prst="rect">
              <a:avLst/>
            </a:prstGeom>
            <a:noFill/>
            <a:ln cap="rnd">
              <a:noFill/>
            </a:ln>
          </p:spPr>
          <p:txBody>
            <a:bodyPr wrap="square" lIns="0" tIns="0" rIns="0" bIns="0" rtlCol="0" anchor="ctr" anchorCtr="0">
              <a:spAutoFit/>
            </a:bodyPr>
            <a:lstStyle/>
            <a:p>
              <a:pPr marL="0" lvl="3" algn="ctr"/>
              <a:r>
                <a:rPr lang="en-US" sz="1600" dirty="0">
                  <a:solidFill>
                    <a:schemeClr val="tx2"/>
                  </a:solidFill>
                </a:rPr>
                <a:t>Material</a:t>
              </a:r>
            </a:p>
          </p:txBody>
        </p:sp>
      </p:grpSp>
      <p:sp>
        <p:nvSpPr>
          <p:cNvPr id="46" name="Rectangle 45" hidden="1"/>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grpSp>
        <p:nvGrpSpPr>
          <p:cNvPr id="6" name="Group 5"/>
          <p:cNvGrpSpPr/>
          <p:nvPr/>
        </p:nvGrpSpPr>
        <p:grpSpPr>
          <a:xfrm>
            <a:off x="400439" y="1508612"/>
            <a:ext cx="1104589" cy="976733"/>
            <a:chOff x="4545224" y="290580"/>
            <a:chExt cx="1104589" cy="976733"/>
          </a:xfrm>
        </p:grpSpPr>
        <p:sp>
          <p:nvSpPr>
            <p:cNvPr id="15" name="ee4pHeader2"/>
            <p:cNvSpPr txBox="1"/>
            <p:nvPr/>
          </p:nvSpPr>
          <p:spPr>
            <a:xfrm>
              <a:off x="4545224" y="1021092"/>
              <a:ext cx="1104589" cy="246221"/>
            </a:xfrm>
            <a:prstGeom prst="rect">
              <a:avLst/>
            </a:prstGeom>
            <a:noFill/>
            <a:ln cap="rnd">
              <a:noFill/>
            </a:ln>
          </p:spPr>
          <p:txBody>
            <a:bodyPr wrap="square" lIns="0" tIns="0" rIns="0" bIns="0" rtlCol="0" anchor="ctr" anchorCtr="0">
              <a:spAutoFit/>
            </a:bodyPr>
            <a:lstStyle/>
            <a:p>
              <a:pPr marL="0" lvl="3" algn="ctr"/>
              <a:r>
                <a:rPr lang="en-US" sz="1600" dirty="0">
                  <a:solidFill>
                    <a:schemeClr val="tx2"/>
                  </a:solidFill>
                </a:rPr>
                <a:t>Context</a:t>
              </a:r>
            </a:p>
          </p:txBody>
        </p:sp>
        <p:grpSp>
          <p:nvGrpSpPr>
            <p:cNvPr id="52" name="Group 51"/>
            <p:cNvGrpSpPr>
              <a:grpSpLocks noChangeAspect="1"/>
            </p:cNvGrpSpPr>
            <p:nvPr/>
          </p:nvGrpSpPr>
          <p:grpSpPr>
            <a:xfrm>
              <a:off x="4704918" y="290580"/>
              <a:ext cx="785201" cy="785928"/>
              <a:chOff x="5273801" y="2606040"/>
              <a:chExt cx="1644396" cy="1645920"/>
            </a:xfrm>
          </p:grpSpPr>
          <p:sp>
            <p:nvSpPr>
              <p:cNvPr id="53" name="AutoShape 18">
                <a:extLst>
                  <a:ext uri="{FF2B5EF4-FFF2-40B4-BE49-F238E27FC236}">
                    <a16:creationId xmlns:a16="http://schemas.microsoft.com/office/drawing/2014/main" id="{100AC5BD-F30F-4F9C-94F8-3ECEAAF56365}"/>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4" name="Group 53"/>
              <p:cNvGrpSpPr/>
              <p:nvPr/>
            </p:nvGrpSpPr>
            <p:grpSpPr>
              <a:xfrm>
                <a:off x="5388863" y="2953131"/>
                <a:ext cx="1409319" cy="967359"/>
                <a:chOff x="5388863" y="2953131"/>
                <a:chExt cx="1409319" cy="967359"/>
              </a:xfrm>
            </p:grpSpPr>
            <p:sp>
              <p:nvSpPr>
                <p:cNvPr id="55" name="Freeform 20">
                  <a:extLst>
                    <a:ext uri="{FF2B5EF4-FFF2-40B4-BE49-F238E27FC236}">
                      <a16:creationId xmlns:a16="http://schemas.microsoft.com/office/drawing/2014/main" id="{D44F01FC-0979-4CF2-A046-0010F3FF82EE}"/>
                    </a:ext>
                  </a:extLst>
                </p:cNvPr>
                <p:cNvSpPr>
                  <a:spLocks noEditPoints="1"/>
                </p:cNvSpPr>
                <p:nvPr/>
              </p:nvSpPr>
              <p:spPr bwMode="auto">
                <a:xfrm>
                  <a:off x="5388863" y="3167634"/>
                  <a:ext cx="737235" cy="752856"/>
                </a:xfrm>
                <a:custGeom>
                  <a:avLst/>
                  <a:gdLst>
                    <a:gd name="T0" fmla="*/ 989 w 1033"/>
                    <a:gd name="T1" fmla="*/ 0 h 1054"/>
                    <a:gd name="T2" fmla="*/ 44 w 1033"/>
                    <a:gd name="T3" fmla="*/ 0 h 1054"/>
                    <a:gd name="T4" fmla="*/ 0 w 1033"/>
                    <a:gd name="T5" fmla="*/ 44 h 1054"/>
                    <a:gd name="T6" fmla="*/ 0 w 1033"/>
                    <a:gd name="T7" fmla="*/ 725 h 1054"/>
                    <a:gd name="T8" fmla="*/ 44 w 1033"/>
                    <a:gd name="T9" fmla="*/ 769 h 1054"/>
                    <a:gd name="T10" fmla="*/ 299 w 1033"/>
                    <a:gd name="T11" fmla="*/ 769 h 1054"/>
                    <a:gd name="T12" fmla="*/ 299 w 1033"/>
                    <a:gd name="T13" fmla="*/ 1010 h 1054"/>
                    <a:gd name="T14" fmla="*/ 300 w 1033"/>
                    <a:gd name="T15" fmla="*/ 1017 h 1054"/>
                    <a:gd name="T16" fmla="*/ 337 w 1033"/>
                    <a:gd name="T17" fmla="*/ 1053 h 1054"/>
                    <a:gd name="T18" fmla="*/ 347 w 1033"/>
                    <a:gd name="T19" fmla="*/ 1054 h 1054"/>
                    <a:gd name="T20" fmla="*/ 401 w 1033"/>
                    <a:gd name="T21" fmla="*/ 1026 h 1054"/>
                    <a:gd name="T22" fmla="*/ 469 w 1033"/>
                    <a:gd name="T23" fmla="*/ 951 h 1054"/>
                    <a:gd name="T24" fmla="*/ 637 w 1033"/>
                    <a:gd name="T25" fmla="*/ 769 h 1054"/>
                    <a:gd name="T26" fmla="*/ 989 w 1033"/>
                    <a:gd name="T27" fmla="*/ 769 h 1054"/>
                    <a:gd name="T28" fmla="*/ 1033 w 1033"/>
                    <a:gd name="T29" fmla="*/ 725 h 1054"/>
                    <a:gd name="T30" fmla="*/ 1033 w 1033"/>
                    <a:gd name="T31" fmla="*/ 44 h 1054"/>
                    <a:gd name="T32" fmla="*/ 989 w 1033"/>
                    <a:gd name="T33" fmla="*/ 0 h 1054"/>
                    <a:gd name="T34" fmla="*/ 832 w 1033"/>
                    <a:gd name="T35" fmla="*/ 552 h 1054"/>
                    <a:gd name="T36" fmla="*/ 201 w 1033"/>
                    <a:gd name="T37" fmla="*/ 552 h 1054"/>
                    <a:gd name="T38" fmla="*/ 179 w 1033"/>
                    <a:gd name="T39" fmla="*/ 530 h 1054"/>
                    <a:gd name="T40" fmla="*/ 201 w 1033"/>
                    <a:gd name="T41" fmla="*/ 508 h 1054"/>
                    <a:gd name="T42" fmla="*/ 832 w 1033"/>
                    <a:gd name="T43" fmla="*/ 508 h 1054"/>
                    <a:gd name="T44" fmla="*/ 854 w 1033"/>
                    <a:gd name="T45" fmla="*/ 530 h 1054"/>
                    <a:gd name="T46" fmla="*/ 832 w 1033"/>
                    <a:gd name="T47" fmla="*/ 552 h 1054"/>
                    <a:gd name="T48" fmla="*/ 832 w 1033"/>
                    <a:gd name="T49" fmla="*/ 415 h 1054"/>
                    <a:gd name="T50" fmla="*/ 201 w 1033"/>
                    <a:gd name="T51" fmla="*/ 415 h 1054"/>
                    <a:gd name="T52" fmla="*/ 179 w 1033"/>
                    <a:gd name="T53" fmla="*/ 393 h 1054"/>
                    <a:gd name="T54" fmla="*/ 201 w 1033"/>
                    <a:gd name="T55" fmla="*/ 371 h 1054"/>
                    <a:gd name="T56" fmla="*/ 832 w 1033"/>
                    <a:gd name="T57" fmla="*/ 371 h 1054"/>
                    <a:gd name="T58" fmla="*/ 854 w 1033"/>
                    <a:gd name="T59" fmla="*/ 393 h 1054"/>
                    <a:gd name="T60" fmla="*/ 832 w 1033"/>
                    <a:gd name="T61" fmla="*/ 415 h 1054"/>
                    <a:gd name="T62" fmla="*/ 832 w 1033"/>
                    <a:gd name="T63" fmla="*/ 279 h 1054"/>
                    <a:gd name="T64" fmla="*/ 201 w 1033"/>
                    <a:gd name="T65" fmla="*/ 279 h 1054"/>
                    <a:gd name="T66" fmla="*/ 179 w 1033"/>
                    <a:gd name="T67" fmla="*/ 257 h 1054"/>
                    <a:gd name="T68" fmla="*/ 201 w 1033"/>
                    <a:gd name="T69" fmla="*/ 235 h 1054"/>
                    <a:gd name="T70" fmla="*/ 832 w 1033"/>
                    <a:gd name="T71" fmla="*/ 235 h 1054"/>
                    <a:gd name="T72" fmla="*/ 854 w 1033"/>
                    <a:gd name="T73" fmla="*/ 257 h 1054"/>
                    <a:gd name="T74" fmla="*/ 832 w 1033"/>
                    <a:gd name="T75" fmla="*/ 27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3" h="1054">
                      <a:moveTo>
                        <a:pt x="989" y="0"/>
                      </a:moveTo>
                      <a:cubicBezTo>
                        <a:pt x="44" y="0"/>
                        <a:pt x="44" y="0"/>
                        <a:pt x="44" y="0"/>
                      </a:cubicBezTo>
                      <a:cubicBezTo>
                        <a:pt x="20" y="0"/>
                        <a:pt x="0" y="20"/>
                        <a:pt x="0" y="44"/>
                      </a:cubicBezTo>
                      <a:cubicBezTo>
                        <a:pt x="0" y="725"/>
                        <a:pt x="0" y="725"/>
                        <a:pt x="0" y="725"/>
                      </a:cubicBezTo>
                      <a:cubicBezTo>
                        <a:pt x="0" y="750"/>
                        <a:pt x="20" y="769"/>
                        <a:pt x="44" y="769"/>
                      </a:cubicBezTo>
                      <a:cubicBezTo>
                        <a:pt x="299" y="769"/>
                        <a:pt x="299" y="769"/>
                        <a:pt x="299" y="769"/>
                      </a:cubicBezTo>
                      <a:cubicBezTo>
                        <a:pt x="299" y="1010"/>
                        <a:pt x="299" y="1010"/>
                        <a:pt x="299" y="1010"/>
                      </a:cubicBezTo>
                      <a:cubicBezTo>
                        <a:pt x="299" y="1012"/>
                        <a:pt x="299" y="1015"/>
                        <a:pt x="300" y="1017"/>
                      </a:cubicBezTo>
                      <a:cubicBezTo>
                        <a:pt x="301" y="1020"/>
                        <a:pt x="311" y="1047"/>
                        <a:pt x="337" y="1053"/>
                      </a:cubicBezTo>
                      <a:cubicBezTo>
                        <a:pt x="341" y="1054"/>
                        <a:pt x="344" y="1054"/>
                        <a:pt x="347" y="1054"/>
                      </a:cubicBezTo>
                      <a:cubicBezTo>
                        <a:pt x="365" y="1054"/>
                        <a:pt x="383" y="1045"/>
                        <a:pt x="401" y="1026"/>
                      </a:cubicBezTo>
                      <a:cubicBezTo>
                        <a:pt x="414" y="1013"/>
                        <a:pt x="438" y="986"/>
                        <a:pt x="469" y="951"/>
                      </a:cubicBezTo>
                      <a:cubicBezTo>
                        <a:pt x="516" y="899"/>
                        <a:pt x="579" y="829"/>
                        <a:pt x="637" y="769"/>
                      </a:cubicBezTo>
                      <a:cubicBezTo>
                        <a:pt x="989" y="769"/>
                        <a:pt x="989" y="769"/>
                        <a:pt x="989" y="769"/>
                      </a:cubicBezTo>
                      <a:cubicBezTo>
                        <a:pt x="1013" y="769"/>
                        <a:pt x="1033" y="750"/>
                        <a:pt x="1033" y="725"/>
                      </a:cubicBezTo>
                      <a:cubicBezTo>
                        <a:pt x="1033" y="44"/>
                        <a:pt x="1033" y="44"/>
                        <a:pt x="1033" y="44"/>
                      </a:cubicBezTo>
                      <a:cubicBezTo>
                        <a:pt x="1033" y="20"/>
                        <a:pt x="1013" y="0"/>
                        <a:pt x="989" y="0"/>
                      </a:cubicBezTo>
                      <a:close/>
                      <a:moveTo>
                        <a:pt x="832" y="552"/>
                      </a:moveTo>
                      <a:cubicBezTo>
                        <a:pt x="201" y="552"/>
                        <a:pt x="201" y="552"/>
                        <a:pt x="201" y="552"/>
                      </a:cubicBezTo>
                      <a:cubicBezTo>
                        <a:pt x="189" y="552"/>
                        <a:pt x="179" y="543"/>
                        <a:pt x="179" y="530"/>
                      </a:cubicBezTo>
                      <a:cubicBezTo>
                        <a:pt x="179" y="518"/>
                        <a:pt x="189" y="508"/>
                        <a:pt x="201" y="508"/>
                      </a:cubicBezTo>
                      <a:cubicBezTo>
                        <a:pt x="832" y="508"/>
                        <a:pt x="832" y="508"/>
                        <a:pt x="832" y="508"/>
                      </a:cubicBezTo>
                      <a:cubicBezTo>
                        <a:pt x="844" y="508"/>
                        <a:pt x="854" y="518"/>
                        <a:pt x="854" y="530"/>
                      </a:cubicBezTo>
                      <a:cubicBezTo>
                        <a:pt x="854" y="543"/>
                        <a:pt x="844" y="552"/>
                        <a:pt x="832" y="552"/>
                      </a:cubicBezTo>
                      <a:close/>
                      <a:moveTo>
                        <a:pt x="832" y="415"/>
                      </a:moveTo>
                      <a:cubicBezTo>
                        <a:pt x="201" y="415"/>
                        <a:pt x="201" y="415"/>
                        <a:pt x="201" y="415"/>
                      </a:cubicBezTo>
                      <a:cubicBezTo>
                        <a:pt x="189" y="415"/>
                        <a:pt x="179" y="405"/>
                        <a:pt x="179" y="393"/>
                      </a:cubicBezTo>
                      <a:cubicBezTo>
                        <a:pt x="179" y="380"/>
                        <a:pt x="189" y="371"/>
                        <a:pt x="201" y="371"/>
                      </a:cubicBezTo>
                      <a:cubicBezTo>
                        <a:pt x="832" y="371"/>
                        <a:pt x="832" y="371"/>
                        <a:pt x="832" y="371"/>
                      </a:cubicBezTo>
                      <a:cubicBezTo>
                        <a:pt x="844" y="371"/>
                        <a:pt x="854" y="380"/>
                        <a:pt x="854" y="393"/>
                      </a:cubicBezTo>
                      <a:cubicBezTo>
                        <a:pt x="854" y="405"/>
                        <a:pt x="844" y="415"/>
                        <a:pt x="832" y="415"/>
                      </a:cubicBezTo>
                      <a:close/>
                      <a:moveTo>
                        <a:pt x="832" y="279"/>
                      </a:moveTo>
                      <a:cubicBezTo>
                        <a:pt x="201" y="279"/>
                        <a:pt x="201" y="279"/>
                        <a:pt x="201" y="279"/>
                      </a:cubicBezTo>
                      <a:cubicBezTo>
                        <a:pt x="189" y="279"/>
                        <a:pt x="179" y="269"/>
                        <a:pt x="179" y="257"/>
                      </a:cubicBezTo>
                      <a:cubicBezTo>
                        <a:pt x="179" y="245"/>
                        <a:pt x="189" y="235"/>
                        <a:pt x="201" y="235"/>
                      </a:cubicBezTo>
                      <a:cubicBezTo>
                        <a:pt x="832" y="235"/>
                        <a:pt x="832" y="235"/>
                        <a:pt x="832" y="235"/>
                      </a:cubicBezTo>
                      <a:cubicBezTo>
                        <a:pt x="844" y="235"/>
                        <a:pt x="854" y="245"/>
                        <a:pt x="854" y="257"/>
                      </a:cubicBezTo>
                      <a:cubicBezTo>
                        <a:pt x="854" y="269"/>
                        <a:pt x="844" y="279"/>
                        <a:pt x="832" y="2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1">
                  <a:extLst>
                    <a:ext uri="{FF2B5EF4-FFF2-40B4-BE49-F238E27FC236}">
                      <a16:creationId xmlns:a16="http://schemas.microsoft.com/office/drawing/2014/main" id="{9FEAEA2A-1D9C-469F-A298-EC5C9220C30F}"/>
                    </a:ext>
                  </a:extLst>
                </p:cNvPr>
                <p:cNvSpPr>
                  <a:spLocks noEditPoints="1"/>
                </p:cNvSpPr>
                <p:nvPr/>
              </p:nvSpPr>
              <p:spPr bwMode="auto">
                <a:xfrm>
                  <a:off x="6060947" y="2953131"/>
                  <a:ext cx="737235" cy="752856"/>
                </a:xfrm>
                <a:custGeom>
                  <a:avLst/>
                  <a:gdLst>
                    <a:gd name="T0" fmla="*/ 1033 w 1033"/>
                    <a:gd name="T1" fmla="*/ 44 h 1054"/>
                    <a:gd name="T2" fmla="*/ 1033 w 1033"/>
                    <a:gd name="T3" fmla="*/ 725 h 1054"/>
                    <a:gd name="T4" fmla="*/ 989 w 1033"/>
                    <a:gd name="T5" fmla="*/ 769 h 1054"/>
                    <a:gd name="T6" fmla="*/ 734 w 1033"/>
                    <a:gd name="T7" fmla="*/ 769 h 1054"/>
                    <a:gd name="T8" fmla="*/ 734 w 1033"/>
                    <a:gd name="T9" fmla="*/ 1010 h 1054"/>
                    <a:gd name="T10" fmla="*/ 733 w 1033"/>
                    <a:gd name="T11" fmla="*/ 1017 h 1054"/>
                    <a:gd name="T12" fmla="*/ 696 w 1033"/>
                    <a:gd name="T13" fmla="*/ 1053 h 1054"/>
                    <a:gd name="T14" fmla="*/ 686 w 1033"/>
                    <a:gd name="T15" fmla="*/ 1054 h 1054"/>
                    <a:gd name="T16" fmla="*/ 632 w 1033"/>
                    <a:gd name="T17" fmla="*/ 1025 h 1054"/>
                    <a:gd name="T18" fmla="*/ 564 w 1033"/>
                    <a:gd name="T19" fmla="*/ 951 h 1054"/>
                    <a:gd name="T20" fmla="*/ 396 w 1033"/>
                    <a:gd name="T21" fmla="*/ 769 h 1054"/>
                    <a:gd name="T22" fmla="*/ 135 w 1033"/>
                    <a:gd name="T23" fmla="*/ 769 h 1054"/>
                    <a:gd name="T24" fmla="*/ 135 w 1033"/>
                    <a:gd name="T25" fmla="*/ 725 h 1054"/>
                    <a:gd name="T26" fmla="*/ 405 w 1033"/>
                    <a:gd name="T27" fmla="*/ 725 h 1054"/>
                    <a:gd name="T28" fmla="*/ 421 w 1033"/>
                    <a:gd name="T29" fmla="*/ 732 h 1054"/>
                    <a:gd name="T30" fmla="*/ 597 w 1033"/>
                    <a:gd name="T31" fmla="*/ 922 h 1054"/>
                    <a:gd name="T32" fmla="*/ 663 w 1033"/>
                    <a:gd name="T33" fmla="*/ 994 h 1054"/>
                    <a:gd name="T34" fmla="*/ 686 w 1033"/>
                    <a:gd name="T35" fmla="*/ 1010 h 1054"/>
                    <a:gd name="T36" fmla="*/ 690 w 1033"/>
                    <a:gd name="T37" fmla="*/ 1005 h 1054"/>
                    <a:gd name="T38" fmla="*/ 690 w 1033"/>
                    <a:gd name="T39" fmla="*/ 747 h 1054"/>
                    <a:gd name="T40" fmla="*/ 712 w 1033"/>
                    <a:gd name="T41" fmla="*/ 725 h 1054"/>
                    <a:gd name="T42" fmla="*/ 989 w 1033"/>
                    <a:gd name="T43" fmla="*/ 725 h 1054"/>
                    <a:gd name="T44" fmla="*/ 989 w 1033"/>
                    <a:gd name="T45" fmla="*/ 44 h 1054"/>
                    <a:gd name="T46" fmla="*/ 44 w 1033"/>
                    <a:gd name="T47" fmla="*/ 44 h 1054"/>
                    <a:gd name="T48" fmla="*/ 44 w 1033"/>
                    <a:gd name="T49" fmla="*/ 256 h 1054"/>
                    <a:gd name="T50" fmla="*/ 0 w 1033"/>
                    <a:gd name="T51" fmla="*/ 256 h 1054"/>
                    <a:gd name="T52" fmla="*/ 0 w 1033"/>
                    <a:gd name="T53" fmla="*/ 44 h 1054"/>
                    <a:gd name="T54" fmla="*/ 44 w 1033"/>
                    <a:gd name="T55" fmla="*/ 0 h 1054"/>
                    <a:gd name="T56" fmla="*/ 989 w 1033"/>
                    <a:gd name="T57" fmla="*/ 0 h 1054"/>
                    <a:gd name="T58" fmla="*/ 1033 w 1033"/>
                    <a:gd name="T59" fmla="*/ 44 h 1054"/>
                    <a:gd name="T60" fmla="*/ 835 w 1033"/>
                    <a:gd name="T61" fmla="*/ 247 h 1054"/>
                    <a:gd name="T62" fmla="*/ 813 w 1033"/>
                    <a:gd name="T63" fmla="*/ 225 h 1054"/>
                    <a:gd name="T64" fmla="*/ 220 w 1033"/>
                    <a:gd name="T65" fmla="*/ 225 h 1054"/>
                    <a:gd name="T66" fmla="*/ 198 w 1033"/>
                    <a:gd name="T67" fmla="*/ 247 h 1054"/>
                    <a:gd name="T68" fmla="*/ 220 w 1033"/>
                    <a:gd name="T69" fmla="*/ 269 h 1054"/>
                    <a:gd name="T70" fmla="*/ 813 w 1033"/>
                    <a:gd name="T71" fmla="*/ 269 h 1054"/>
                    <a:gd name="T72" fmla="*/ 835 w 1033"/>
                    <a:gd name="T73" fmla="*/ 247 h 1054"/>
                    <a:gd name="T74" fmla="*/ 835 w 1033"/>
                    <a:gd name="T75" fmla="*/ 383 h 1054"/>
                    <a:gd name="T76" fmla="*/ 813 w 1033"/>
                    <a:gd name="T77" fmla="*/ 361 h 1054"/>
                    <a:gd name="T78" fmla="*/ 220 w 1033"/>
                    <a:gd name="T79" fmla="*/ 361 h 1054"/>
                    <a:gd name="T80" fmla="*/ 198 w 1033"/>
                    <a:gd name="T81" fmla="*/ 383 h 1054"/>
                    <a:gd name="T82" fmla="*/ 220 w 1033"/>
                    <a:gd name="T83" fmla="*/ 405 h 1054"/>
                    <a:gd name="T84" fmla="*/ 813 w 1033"/>
                    <a:gd name="T85" fmla="*/ 405 h 1054"/>
                    <a:gd name="T86" fmla="*/ 835 w 1033"/>
                    <a:gd name="T87" fmla="*/ 383 h 1054"/>
                    <a:gd name="T88" fmla="*/ 835 w 1033"/>
                    <a:gd name="T89" fmla="*/ 521 h 1054"/>
                    <a:gd name="T90" fmla="*/ 813 w 1033"/>
                    <a:gd name="T91" fmla="*/ 499 h 1054"/>
                    <a:gd name="T92" fmla="*/ 220 w 1033"/>
                    <a:gd name="T93" fmla="*/ 499 h 1054"/>
                    <a:gd name="T94" fmla="*/ 198 w 1033"/>
                    <a:gd name="T95" fmla="*/ 521 h 1054"/>
                    <a:gd name="T96" fmla="*/ 220 w 1033"/>
                    <a:gd name="T97" fmla="*/ 543 h 1054"/>
                    <a:gd name="T98" fmla="*/ 813 w 1033"/>
                    <a:gd name="T99" fmla="*/ 543 h 1054"/>
                    <a:gd name="T100" fmla="*/ 835 w 1033"/>
                    <a:gd name="T101" fmla="*/ 521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3" h="1054">
                      <a:moveTo>
                        <a:pt x="1033" y="44"/>
                      </a:moveTo>
                      <a:cubicBezTo>
                        <a:pt x="1033" y="725"/>
                        <a:pt x="1033" y="725"/>
                        <a:pt x="1033" y="725"/>
                      </a:cubicBezTo>
                      <a:cubicBezTo>
                        <a:pt x="1033" y="750"/>
                        <a:pt x="1013" y="769"/>
                        <a:pt x="989" y="769"/>
                      </a:cubicBezTo>
                      <a:cubicBezTo>
                        <a:pt x="734" y="769"/>
                        <a:pt x="734" y="769"/>
                        <a:pt x="734" y="769"/>
                      </a:cubicBezTo>
                      <a:cubicBezTo>
                        <a:pt x="734" y="1010"/>
                        <a:pt x="734" y="1010"/>
                        <a:pt x="734" y="1010"/>
                      </a:cubicBezTo>
                      <a:cubicBezTo>
                        <a:pt x="734" y="1012"/>
                        <a:pt x="734" y="1015"/>
                        <a:pt x="733" y="1017"/>
                      </a:cubicBezTo>
                      <a:cubicBezTo>
                        <a:pt x="732" y="1020"/>
                        <a:pt x="722" y="1047"/>
                        <a:pt x="696" y="1053"/>
                      </a:cubicBezTo>
                      <a:cubicBezTo>
                        <a:pt x="693" y="1054"/>
                        <a:pt x="689" y="1054"/>
                        <a:pt x="686" y="1054"/>
                      </a:cubicBezTo>
                      <a:cubicBezTo>
                        <a:pt x="668" y="1054"/>
                        <a:pt x="650" y="1044"/>
                        <a:pt x="632" y="1025"/>
                      </a:cubicBezTo>
                      <a:cubicBezTo>
                        <a:pt x="619" y="1013"/>
                        <a:pt x="595" y="985"/>
                        <a:pt x="564" y="951"/>
                      </a:cubicBezTo>
                      <a:cubicBezTo>
                        <a:pt x="517" y="899"/>
                        <a:pt x="454" y="829"/>
                        <a:pt x="396" y="769"/>
                      </a:cubicBezTo>
                      <a:cubicBezTo>
                        <a:pt x="135" y="769"/>
                        <a:pt x="135" y="769"/>
                        <a:pt x="135" y="769"/>
                      </a:cubicBezTo>
                      <a:cubicBezTo>
                        <a:pt x="135" y="725"/>
                        <a:pt x="135" y="725"/>
                        <a:pt x="135" y="725"/>
                      </a:cubicBezTo>
                      <a:cubicBezTo>
                        <a:pt x="405" y="725"/>
                        <a:pt x="405" y="725"/>
                        <a:pt x="405" y="725"/>
                      </a:cubicBezTo>
                      <a:cubicBezTo>
                        <a:pt x="411" y="725"/>
                        <a:pt x="417" y="728"/>
                        <a:pt x="421" y="732"/>
                      </a:cubicBezTo>
                      <a:cubicBezTo>
                        <a:pt x="481" y="793"/>
                        <a:pt x="548" y="867"/>
                        <a:pt x="597" y="922"/>
                      </a:cubicBezTo>
                      <a:cubicBezTo>
                        <a:pt x="627" y="956"/>
                        <a:pt x="651" y="982"/>
                        <a:pt x="663" y="994"/>
                      </a:cubicBezTo>
                      <a:cubicBezTo>
                        <a:pt x="677" y="1008"/>
                        <a:pt x="684" y="1010"/>
                        <a:pt x="686" y="1010"/>
                      </a:cubicBezTo>
                      <a:cubicBezTo>
                        <a:pt x="687" y="1010"/>
                        <a:pt x="689" y="1008"/>
                        <a:pt x="690" y="1005"/>
                      </a:cubicBezTo>
                      <a:cubicBezTo>
                        <a:pt x="690" y="747"/>
                        <a:pt x="690" y="747"/>
                        <a:pt x="690" y="747"/>
                      </a:cubicBezTo>
                      <a:cubicBezTo>
                        <a:pt x="690" y="735"/>
                        <a:pt x="700" y="725"/>
                        <a:pt x="712" y="725"/>
                      </a:cubicBezTo>
                      <a:cubicBezTo>
                        <a:pt x="989" y="725"/>
                        <a:pt x="989" y="725"/>
                        <a:pt x="989" y="725"/>
                      </a:cubicBezTo>
                      <a:cubicBezTo>
                        <a:pt x="989" y="44"/>
                        <a:pt x="989" y="44"/>
                        <a:pt x="989" y="44"/>
                      </a:cubicBezTo>
                      <a:cubicBezTo>
                        <a:pt x="44" y="44"/>
                        <a:pt x="44" y="44"/>
                        <a:pt x="44" y="44"/>
                      </a:cubicBezTo>
                      <a:cubicBezTo>
                        <a:pt x="44" y="256"/>
                        <a:pt x="44" y="256"/>
                        <a:pt x="44" y="256"/>
                      </a:cubicBezTo>
                      <a:cubicBezTo>
                        <a:pt x="0" y="256"/>
                        <a:pt x="0" y="256"/>
                        <a:pt x="0" y="256"/>
                      </a:cubicBezTo>
                      <a:cubicBezTo>
                        <a:pt x="0" y="44"/>
                        <a:pt x="0" y="44"/>
                        <a:pt x="0" y="44"/>
                      </a:cubicBezTo>
                      <a:cubicBezTo>
                        <a:pt x="0" y="20"/>
                        <a:pt x="20" y="0"/>
                        <a:pt x="44" y="0"/>
                      </a:cubicBezTo>
                      <a:cubicBezTo>
                        <a:pt x="989" y="0"/>
                        <a:pt x="989" y="0"/>
                        <a:pt x="989" y="0"/>
                      </a:cubicBezTo>
                      <a:cubicBezTo>
                        <a:pt x="1013" y="0"/>
                        <a:pt x="1033" y="20"/>
                        <a:pt x="1033" y="44"/>
                      </a:cubicBezTo>
                      <a:close/>
                      <a:moveTo>
                        <a:pt x="835" y="247"/>
                      </a:moveTo>
                      <a:cubicBezTo>
                        <a:pt x="835" y="235"/>
                        <a:pt x="826" y="225"/>
                        <a:pt x="813" y="225"/>
                      </a:cubicBezTo>
                      <a:cubicBezTo>
                        <a:pt x="220" y="225"/>
                        <a:pt x="220" y="225"/>
                        <a:pt x="220" y="225"/>
                      </a:cubicBezTo>
                      <a:cubicBezTo>
                        <a:pt x="208" y="225"/>
                        <a:pt x="198" y="235"/>
                        <a:pt x="198" y="247"/>
                      </a:cubicBezTo>
                      <a:cubicBezTo>
                        <a:pt x="198" y="259"/>
                        <a:pt x="208" y="269"/>
                        <a:pt x="220" y="269"/>
                      </a:cubicBezTo>
                      <a:cubicBezTo>
                        <a:pt x="813" y="269"/>
                        <a:pt x="813" y="269"/>
                        <a:pt x="813" y="269"/>
                      </a:cubicBezTo>
                      <a:cubicBezTo>
                        <a:pt x="826" y="269"/>
                        <a:pt x="835" y="259"/>
                        <a:pt x="835" y="247"/>
                      </a:cubicBezTo>
                      <a:close/>
                      <a:moveTo>
                        <a:pt x="835" y="383"/>
                      </a:moveTo>
                      <a:cubicBezTo>
                        <a:pt x="835" y="371"/>
                        <a:pt x="826" y="361"/>
                        <a:pt x="813" y="361"/>
                      </a:cubicBezTo>
                      <a:cubicBezTo>
                        <a:pt x="220" y="361"/>
                        <a:pt x="220" y="361"/>
                        <a:pt x="220" y="361"/>
                      </a:cubicBezTo>
                      <a:cubicBezTo>
                        <a:pt x="208" y="361"/>
                        <a:pt x="198" y="371"/>
                        <a:pt x="198" y="383"/>
                      </a:cubicBezTo>
                      <a:cubicBezTo>
                        <a:pt x="198" y="395"/>
                        <a:pt x="208" y="405"/>
                        <a:pt x="220" y="405"/>
                      </a:cubicBezTo>
                      <a:cubicBezTo>
                        <a:pt x="813" y="405"/>
                        <a:pt x="813" y="405"/>
                        <a:pt x="813" y="405"/>
                      </a:cubicBezTo>
                      <a:cubicBezTo>
                        <a:pt x="826" y="405"/>
                        <a:pt x="835" y="395"/>
                        <a:pt x="835" y="383"/>
                      </a:cubicBezTo>
                      <a:close/>
                      <a:moveTo>
                        <a:pt x="835" y="521"/>
                      </a:moveTo>
                      <a:cubicBezTo>
                        <a:pt x="835" y="508"/>
                        <a:pt x="826" y="499"/>
                        <a:pt x="813" y="499"/>
                      </a:cubicBezTo>
                      <a:cubicBezTo>
                        <a:pt x="220" y="499"/>
                        <a:pt x="220" y="499"/>
                        <a:pt x="220" y="499"/>
                      </a:cubicBezTo>
                      <a:cubicBezTo>
                        <a:pt x="208" y="499"/>
                        <a:pt x="198" y="508"/>
                        <a:pt x="198" y="521"/>
                      </a:cubicBezTo>
                      <a:cubicBezTo>
                        <a:pt x="198" y="533"/>
                        <a:pt x="208" y="543"/>
                        <a:pt x="220" y="543"/>
                      </a:cubicBezTo>
                      <a:cubicBezTo>
                        <a:pt x="813" y="543"/>
                        <a:pt x="813" y="543"/>
                        <a:pt x="813" y="543"/>
                      </a:cubicBezTo>
                      <a:cubicBezTo>
                        <a:pt x="826" y="543"/>
                        <a:pt x="835" y="533"/>
                        <a:pt x="835" y="5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63" name="ee4pContent2"/>
          <p:cNvSpPr txBox="1"/>
          <p:nvPr/>
        </p:nvSpPr>
        <p:spPr>
          <a:xfrm>
            <a:off x="1708205" y="5243375"/>
            <a:ext cx="9800304" cy="98488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600" dirty="0">
                <a:solidFill>
                  <a:schemeClr val="tx1">
                    <a:lumMod val="100000"/>
                  </a:schemeClr>
                </a:solidFill>
              </a:rPr>
              <a:t>You will find at your disposal: </a:t>
            </a:r>
          </a:p>
          <a:p>
            <a:pPr lvl="2">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4 meeting minutes with key stakeholders that were held prior to the start of the mission</a:t>
            </a:r>
          </a:p>
          <a:p>
            <a:pPr lvl="2">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Several databases given by the </a:t>
            </a:r>
            <a:r>
              <a:rPr lang="en-US" sz="1600" dirty="0" err="1">
                <a:solidFill>
                  <a:schemeClr val="tx1">
                    <a:lumMod val="100000"/>
                  </a:schemeClr>
                </a:solidFill>
              </a:rPr>
              <a:t>CDO's</a:t>
            </a:r>
            <a:r>
              <a:rPr lang="en-US" sz="1600" dirty="0">
                <a:solidFill>
                  <a:schemeClr val="tx1">
                    <a:lumMod val="100000"/>
                  </a:schemeClr>
                </a:solidFill>
              </a:rPr>
              <a:t> team, along with their short description</a:t>
            </a:r>
          </a:p>
          <a:p>
            <a:pPr lvl="2">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Several materials (illustrative use cases, information on </a:t>
            </a:r>
            <a:r>
              <a:rPr lang="en-US" sz="1600" dirty="0" err="1">
                <a:solidFill>
                  <a:schemeClr val="tx1">
                    <a:lumMod val="100000"/>
                  </a:schemeClr>
                </a:solidFill>
              </a:rPr>
              <a:t>ClientCo</a:t>
            </a:r>
            <a:r>
              <a:rPr lang="en-US" sz="1600" dirty="0">
                <a:solidFill>
                  <a:schemeClr val="tx1">
                    <a:lumMod val="100000"/>
                  </a:schemeClr>
                </a:solidFill>
              </a:rPr>
              <a:t>…) to guide you </a:t>
            </a:r>
          </a:p>
        </p:txBody>
      </p:sp>
      <p:sp>
        <p:nvSpPr>
          <p:cNvPr id="58" name="AutoShape 3"/>
          <p:cNvSpPr>
            <a:spLocks noChangeAspect="1" noChangeArrowheads="1" noTextEdit="1"/>
          </p:cNvSpPr>
          <p:nvPr/>
        </p:nvSpPr>
        <p:spPr bwMode="auto">
          <a:xfrm>
            <a:off x="488552" y="3826570"/>
            <a:ext cx="928362" cy="928362"/>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9" name="Group 58"/>
          <p:cNvGrpSpPr/>
          <p:nvPr/>
        </p:nvGrpSpPr>
        <p:grpSpPr>
          <a:xfrm>
            <a:off x="584435" y="3968154"/>
            <a:ext cx="736596" cy="585155"/>
            <a:chOff x="5270501" y="2863850"/>
            <a:chExt cx="1304925" cy="1036638"/>
          </a:xfrm>
        </p:grpSpPr>
        <p:sp>
          <p:nvSpPr>
            <p:cNvPr id="60" name="Freeform 59"/>
            <p:cNvSpPr>
              <a:spLocks noEditPoints="1"/>
            </p:cNvSpPr>
            <p:nvPr/>
          </p:nvSpPr>
          <p:spPr bwMode="auto">
            <a:xfrm>
              <a:off x="5270501" y="3251200"/>
              <a:ext cx="1304925" cy="457200"/>
            </a:xfrm>
            <a:custGeom>
              <a:avLst/>
              <a:gdLst>
                <a:gd name="T0" fmla="*/ 1806 w 1828"/>
                <a:gd name="T1" fmla="*/ 0 h 642"/>
                <a:gd name="T2" fmla="*/ 1567 w 1828"/>
                <a:gd name="T3" fmla="*/ 0 h 642"/>
                <a:gd name="T4" fmla="*/ 1567 w 1828"/>
                <a:gd name="T5" fmla="*/ 237 h 642"/>
                <a:gd name="T6" fmla="*/ 1523 w 1828"/>
                <a:gd name="T7" fmla="*/ 281 h 642"/>
                <a:gd name="T8" fmla="*/ 305 w 1828"/>
                <a:gd name="T9" fmla="*/ 281 h 642"/>
                <a:gd name="T10" fmla="*/ 261 w 1828"/>
                <a:gd name="T11" fmla="*/ 237 h 642"/>
                <a:gd name="T12" fmla="*/ 261 w 1828"/>
                <a:gd name="T13" fmla="*/ 0 h 642"/>
                <a:gd name="T14" fmla="*/ 22 w 1828"/>
                <a:gd name="T15" fmla="*/ 0 h 642"/>
                <a:gd name="T16" fmla="*/ 0 w 1828"/>
                <a:gd name="T17" fmla="*/ 22 h 642"/>
                <a:gd name="T18" fmla="*/ 0 w 1828"/>
                <a:gd name="T19" fmla="*/ 620 h 642"/>
                <a:gd name="T20" fmla="*/ 22 w 1828"/>
                <a:gd name="T21" fmla="*/ 642 h 642"/>
                <a:gd name="T22" fmla="*/ 377 w 1828"/>
                <a:gd name="T23" fmla="*/ 642 h 642"/>
                <a:gd name="T24" fmla="*/ 377 w 1828"/>
                <a:gd name="T25" fmla="*/ 572 h 642"/>
                <a:gd name="T26" fmla="*/ 425 w 1828"/>
                <a:gd name="T27" fmla="*/ 536 h 642"/>
                <a:gd name="T28" fmla="*/ 1403 w 1828"/>
                <a:gd name="T29" fmla="*/ 536 h 642"/>
                <a:gd name="T30" fmla="*/ 1451 w 1828"/>
                <a:gd name="T31" fmla="*/ 572 h 642"/>
                <a:gd name="T32" fmla="*/ 1451 w 1828"/>
                <a:gd name="T33" fmla="*/ 642 h 642"/>
                <a:gd name="T34" fmla="*/ 1806 w 1828"/>
                <a:gd name="T35" fmla="*/ 642 h 642"/>
                <a:gd name="T36" fmla="*/ 1828 w 1828"/>
                <a:gd name="T37" fmla="*/ 620 h 642"/>
                <a:gd name="T38" fmla="*/ 1828 w 1828"/>
                <a:gd name="T39" fmla="*/ 22 h 642"/>
                <a:gd name="T40" fmla="*/ 1806 w 1828"/>
                <a:gd name="T41" fmla="*/ 0 h 642"/>
                <a:gd name="T42" fmla="*/ 1706 w 1828"/>
                <a:gd name="T43" fmla="*/ 558 h 642"/>
                <a:gd name="T44" fmla="*/ 1665 w 1828"/>
                <a:gd name="T45" fmla="*/ 517 h 642"/>
                <a:gd name="T46" fmla="*/ 1706 w 1828"/>
                <a:gd name="T47" fmla="*/ 475 h 642"/>
                <a:gd name="T48" fmla="*/ 1748 w 1828"/>
                <a:gd name="T49" fmla="*/ 517 h 642"/>
                <a:gd name="T50" fmla="*/ 1706 w 1828"/>
                <a:gd name="T51" fmla="*/ 558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28" h="642">
                  <a:moveTo>
                    <a:pt x="1806" y="0"/>
                  </a:moveTo>
                  <a:cubicBezTo>
                    <a:pt x="1567" y="0"/>
                    <a:pt x="1567" y="0"/>
                    <a:pt x="1567" y="0"/>
                  </a:cubicBezTo>
                  <a:cubicBezTo>
                    <a:pt x="1567" y="237"/>
                    <a:pt x="1567" y="237"/>
                    <a:pt x="1567" y="237"/>
                  </a:cubicBezTo>
                  <a:cubicBezTo>
                    <a:pt x="1567" y="262"/>
                    <a:pt x="1548" y="281"/>
                    <a:pt x="1523" y="281"/>
                  </a:cubicBezTo>
                  <a:cubicBezTo>
                    <a:pt x="305" y="281"/>
                    <a:pt x="305" y="281"/>
                    <a:pt x="305" y="281"/>
                  </a:cubicBezTo>
                  <a:cubicBezTo>
                    <a:pt x="280" y="281"/>
                    <a:pt x="261" y="262"/>
                    <a:pt x="261" y="237"/>
                  </a:cubicBezTo>
                  <a:cubicBezTo>
                    <a:pt x="261" y="0"/>
                    <a:pt x="261" y="0"/>
                    <a:pt x="261" y="0"/>
                  </a:cubicBezTo>
                  <a:cubicBezTo>
                    <a:pt x="22" y="0"/>
                    <a:pt x="22" y="0"/>
                    <a:pt x="22" y="0"/>
                  </a:cubicBezTo>
                  <a:cubicBezTo>
                    <a:pt x="10" y="0"/>
                    <a:pt x="0" y="9"/>
                    <a:pt x="0" y="22"/>
                  </a:cubicBezTo>
                  <a:cubicBezTo>
                    <a:pt x="0" y="620"/>
                    <a:pt x="0" y="620"/>
                    <a:pt x="0" y="620"/>
                  </a:cubicBezTo>
                  <a:cubicBezTo>
                    <a:pt x="0" y="632"/>
                    <a:pt x="10" y="642"/>
                    <a:pt x="22" y="642"/>
                  </a:cubicBezTo>
                  <a:cubicBezTo>
                    <a:pt x="377" y="642"/>
                    <a:pt x="377" y="642"/>
                    <a:pt x="377" y="642"/>
                  </a:cubicBezTo>
                  <a:cubicBezTo>
                    <a:pt x="377" y="572"/>
                    <a:pt x="377" y="572"/>
                    <a:pt x="377" y="572"/>
                  </a:cubicBezTo>
                  <a:cubicBezTo>
                    <a:pt x="377" y="552"/>
                    <a:pt x="398" y="536"/>
                    <a:pt x="425" y="536"/>
                  </a:cubicBezTo>
                  <a:cubicBezTo>
                    <a:pt x="1403" y="536"/>
                    <a:pt x="1403" y="536"/>
                    <a:pt x="1403" y="536"/>
                  </a:cubicBezTo>
                  <a:cubicBezTo>
                    <a:pt x="1430" y="536"/>
                    <a:pt x="1451" y="552"/>
                    <a:pt x="1451" y="572"/>
                  </a:cubicBezTo>
                  <a:cubicBezTo>
                    <a:pt x="1451" y="642"/>
                    <a:pt x="1451" y="642"/>
                    <a:pt x="1451" y="642"/>
                  </a:cubicBezTo>
                  <a:cubicBezTo>
                    <a:pt x="1806" y="642"/>
                    <a:pt x="1806" y="642"/>
                    <a:pt x="1806" y="642"/>
                  </a:cubicBezTo>
                  <a:cubicBezTo>
                    <a:pt x="1818" y="642"/>
                    <a:pt x="1828" y="632"/>
                    <a:pt x="1828" y="620"/>
                  </a:cubicBezTo>
                  <a:cubicBezTo>
                    <a:pt x="1828" y="22"/>
                    <a:pt x="1828" y="22"/>
                    <a:pt x="1828" y="22"/>
                  </a:cubicBezTo>
                  <a:cubicBezTo>
                    <a:pt x="1828" y="9"/>
                    <a:pt x="1818" y="0"/>
                    <a:pt x="1806" y="0"/>
                  </a:cubicBezTo>
                  <a:close/>
                  <a:moveTo>
                    <a:pt x="1706" y="558"/>
                  </a:moveTo>
                  <a:cubicBezTo>
                    <a:pt x="1683" y="558"/>
                    <a:pt x="1665" y="540"/>
                    <a:pt x="1665" y="517"/>
                  </a:cubicBezTo>
                  <a:cubicBezTo>
                    <a:pt x="1665" y="494"/>
                    <a:pt x="1683" y="475"/>
                    <a:pt x="1706" y="475"/>
                  </a:cubicBezTo>
                  <a:cubicBezTo>
                    <a:pt x="1729" y="475"/>
                    <a:pt x="1748" y="494"/>
                    <a:pt x="1748" y="517"/>
                  </a:cubicBezTo>
                  <a:cubicBezTo>
                    <a:pt x="1748" y="540"/>
                    <a:pt x="1729" y="558"/>
                    <a:pt x="1706" y="5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60"/>
            <p:cNvSpPr>
              <a:spLocks noEditPoints="1"/>
            </p:cNvSpPr>
            <p:nvPr/>
          </p:nvSpPr>
          <p:spPr bwMode="auto">
            <a:xfrm>
              <a:off x="5487988" y="2863850"/>
              <a:ext cx="869950" cy="1036638"/>
            </a:xfrm>
            <a:custGeom>
              <a:avLst/>
              <a:gdLst>
                <a:gd name="T0" fmla="*/ 221 w 1218"/>
                <a:gd name="T1" fmla="*/ 1217 h 1452"/>
                <a:gd name="T2" fmla="*/ 885 w 1218"/>
                <a:gd name="T3" fmla="*/ 1217 h 1452"/>
                <a:gd name="T4" fmla="*/ 907 w 1218"/>
                <a:gd name="T5" fmla="*/ 1195 h 1452"/>
                <a:gd name="T6" fmla="*/ 885 w 1218"/>
                <a:gd name="T7" fmla="*/ 1173 h 1452"/>
                <a:gd name="T8" fmla="*/ 221 w 1218"/>
                <a:gd name="T9" fmla="*/ 1173 h 1452"/>
                <a:gd name="T10" fmla="*/ 199 w 1218"/>
                <a:gd name="T11" fmla="*/ 1195 h 1452"/>
                <a:gd name="T12" fmla="*/ 221 w 1218"/>
                <a:gd name="T13" fmla="*/ 1217 h 1452"/>
                <a:gd name="T14" fmla="*/ 221 w 1218"/>
                <a:gd name="T15" fmla="*/ 1309 h 1452"/>
                <a:gd name="T16" fmla="*/ 885 w 1218"/>
                <a:gd name="T17" fmla="*/ 1309 h 1452"/>
                <a:gd name="T18" fmla="*/ 907 w 1218"/>
                <a:gd name="T19" fmla="*/ 1287 h 1452"/>
                <a:gd name="T20" fmla="*/ 885 w 1218"/>
                <a:gd name="T21" fmla="*/ 1265 h 1452"/>
                <a:gd name="T22" fmla="*/ 221 w 1218"/>
                <a:gd name="T23" fmla="*/ 1265 h 1452"/>
                <a:gd name="T24" fmla="*/ 199 w 1218"/>
                <a:gd name="T25" fmla="*/ 1287 h 1452"/>
                <a:gd name="T26" fmla="*/ 221 w 1218"/>
                <a:gd name="T27" fmla="*/ 1309 h 1452"/>
                <a:gd name="T28" fmla="*/ 1058 w 1218"/>
                <a:gd name="T29" fmla="*/ 1408 h 1452"/>
                <a:gd name="T30" fmla="*/ 160 w 1218"/>
                <a:gd name="T31" fmla="*/ 1408 h 1452"/>
                <a:gd name="T32" fmla="*/ 160 w 1218"/>
                <a:gd name="T33" fmla="*/ 1129 h 1452"/>
                <a:gd name="T34" fmla="*/ 116 w 1218"/>
                <a:gd name="T35" fmla="*/ 1129 h 1452"/>
                <a:gd name="T36" fmla="*/ 116 w 1218"/>
                <a:gd name="T37" fmla="*/ 1408 h 1452"/>
                <a:gd name="T38" fmla="*/ 160 w 1218"/>
                <a:gd name="T39" fmla="*/ 1452 h 1452"/>
                <a:gd name="T40" fmla="*/ 1058 w 1218"/>
                <a:gd name="T41" fmla="*/ 1452 h 1452"/>
                <a:gd name="T42" fmla="*/ 1102 w 1218"/>
                <a:gd name="T43" fmla="*/ 1408 h 1452"/>
                <a:gd name="T44" fmla="*/ 1102 w 1218"/>
                <a:gd name="T45" fmla="*/ 1129 h 1452"/>
                <a:gd name="T46" fmla="*/ 1058 w 1218"/>
                <a:gd name="T47" fmla="*/ 1129 h 1452"/>
                <a:gd name="T48" fmla="*/ 1058 w 1218"/>
                <a:gd name="T49" fmla="*/ 1408 h 1452"/>
                <a:gd name="T50" fmla="*/ 1102 w 1218"/>
                <a:gd name="T51" fmla="*/ 542 h 1452"/>
                <a:gd name="T52" fmla="*/ 1102 w 1218"/>
                <a:gd name="T53" fmla="*/ 44 h 1452"/>
                <a:gd name="T54" fmla="*/ 1058 w 1218"/>
                <a:gd name="T55" fmla="*/ 0 h 1452"/>
                <a:gd name="T56" fmla="*/ 160 w 1218"/>
                <a:gd name="T57" fmla="*/ 0 h 1452"/>
                <a:gd name="T58" fmla="*/ 116 w 1218"/>
                <a:gd name="T59" fmla="*/ 44 h 1452"/>
                <a:gd name="T60" fmla="*/ 116 w 1218"/>
                <a:gd name="T61" fmla="*/ 542 h 1452"/>
                <a:gd name="T62" fmla="*/ 0 w 1218"/>
                <a:gd name="T63" fmla="*/ 542 h 1452"/>
                <a:gd name="T64" fmla="*/ 0 w 1218"/>
                <a:gd name="T65" fmla="*/ 779 h 1452"/>
                <a:gd name="T66" fmla="*/ 1218 w 1218"/>
                <a:gd name="T67" fmla="*/ 779 h 1452"/>
                <a:gd name="T68" fmla="*/ 1218 w 1218"/>
                <a:gd name="T69" fmla="*/ 542 h 1452"/>
                <a:gd name="T70" fmla="*/ 1102 w 1218"/>
                <a:gd name="T71" fmla="*/ 542 h 1452"/>
                <a:gd name="T72" fmla="*/ 1058 w 1218"/>
                <a:gd name="T73" fmla="*/ 619 h 1452"/>
                <a:gd name="T74" fmla="*/ 160 w 1218"/>
                <a:gd name="T75" fmla="*/ 619 h 1452"/>
                <a:gd name="T76" fmla="*/ 160 w 1218"/>
                <a:gd name="T77" fmla="*/ 44 h 1452"/>
                <a:gd name="T78" fmla="*/ 1058 w 1218"/>
                <a:gd name="T79" fmla="*/ 44 h 1452"/>
                <a:gd name="T80" fmla="*/ 1058 w 1218"/>
                <a:gd name="T81" fmla="*/ 619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18" h="1452">
                  <a:moveTo>
                    <a:pt x="221" y="1217"/>
                  </a:moveTo>
                  <a:cubicBezTo>
                    <a:pt x="885" y="1217"/>
                    <a:pt x="885" y="1217"/>
                    <a:pt x="885" y="1217"/>
                  </a:cubicBezTo>
                  <a:cubicBezTo>
                    <a:pt x="897" y="1217"/>
                    <a:pt x="907" y="1207"/>
                    <a:pt x="907" y="1195"/>
                  </a:cubicBezTo>
                  <a:cubicBezTo>
                    <a:pt x="907" y="1183"/>
                    <a:pt x="897" y="1173"/>
                    <a:pt x="885" y="1173"/>
                  </a:cubicBezTo>
                  <a:cubicBezTo>
                    <a:pt x="221" y="1173"/>
                    <a:pt x="221" y="1173"/>
                    <a:pt x="221" y="1173"/>
                  </a:cubicBezTo>
                  <a:cubicBezTo>
                    <a:pt x="209" y="1173"/>
                    <a:pt x="199" y="1183"/>
                    <a:pt x="199" y="1195"/>
                  </a:cubicBezTo>
                  <a:cubicBezTo>
                    <a:pt x="199" y="1207"/>
                    <a:pt x="209" y="1217"/>
                    <a:pt x="221" y="1217"/>
                  </a:cubicBezTo>
                  <a:close/>
                  <a:moveTo>
                    <a:pt x="221" y="1309"/>
                  </a:moveTo>
                  <a:cubicBezTo>
                    <a:pt x="885" y="1309"/>
                    <a:pt x="885" y="1309"/>
                    <a:pt x="885" y="1309"/>
                  </a:cubicBezTo>
                  <a:cubicBezTo>
                    <a:pt x="897" y="1309"/>
                    <a:pt x="907" y="1300"/>
                    <a:pt x="907" y="1287"/>
                  </a:cubicBezTo>
                  <a:cubicBezTo>
                    <a:pt x="907" y="1275"/>
                    <a:pt x="897" y="1265"/>
                    <a:pt x="885" y="1265"/>
                  </a:cubicBezTo>
                  <a:cubicBezTo>
                    <a:pt x="221" y="1265"/>
                    <a:pt x="221" y="1265"/>
                    <a:pt x="221" y="1265"/>
                  </a:cubicBezTo>
                  <a:cubicBezTo>
                    <a:pt x="209" y="1265"/>
                    <a:pt x="199" y="1275"/>
                    <a:pt x="199" y="1287"/>
                  </a:cubicBezTo>
                  <a:cubicBezTo>
                    <a:pt x="199" y="1300"/>
                    <a:pt x="209" y="1309"/>
                    <a:pt x="221" y="1309"/>
                  </a:cubicBezTo>
                  <a:close/>
                  <a:moveTo>
                    <a:pt x="1058" y="1408"/>
                  </a:moveTo>
                  <a:cubicBezTo>
                    <a:pt x="160" y="1408"/>
                    <a:pt x="160" y="1408"/>
                    <a:pt x="160" y="1408"/>
                  </a:cubicBezTo>
                  <a:cubicBezTo>
                    <a:pt x="160" y="1129"/>
                    <a:pt x="160" y="1129"/>
                    <a:pt x="160" y="1129"/>
                  </a:cubicBezTo>
                  <a:cubicBezTo>
                    <a:pt x="116" y="1129"/>
                    <a:pt x="116" y="1129"/>
                    <a:pt x="116" y="1129"/>
                  </a:cubicBezTo>
                  <a:cubicBezTo>
                    <a:pt x="116" y="1408"/>
                    <a:pt x="116" y="1408"/>
                    <a:pt x="116" y="1408"/>
                  </a:cubicBezTo>
                  <a:cubicBezTo>
                    <a:pt x="116" y="1432"/>
                    <a:pt x="136" y="1452"/>
                    <a:pt x="160" y="1452"/>
                  </a:cubicBezTo>
                  <a:cubicBezTo>
                    <a:pt x="1058" y="1452"/>
                    <a:pt x="1058" y="1452"/>
                    <a:pt x="1058" y="1452"/>
                  </a:cubicBezTo>
                  <a:cubicBezTo>
                    <a:pt x="1082" y="1452"/>
                    <a:pt x="1102" y="1432"/>
                    <a:pt x="1102" y="1408"/>
                  </a:cubicBezTo>
                  <a:cubicBezTo>
                    <a:pt x="1102" y="1129"/>
                    <a:pt x="1102" y="1129"/>
                    <a:pt x="1102" y="1129"/>
                  </a:cubicBezTo>
                  <a:cubicBezTo>
                    <a:pt x="1058" y="1129"/>
                    <a:pt x="1058" y="1129"/>
                    <a:pt x="1058" y="1129"/>
                  </a:cubicBezTo>
                  <a:lnTo>
                    <a:pt x="1058" y="1408"/>
                  </a:lnTo>
                  <a:close/>
                  <a:moveTo>
                    <a:pt x="1102" y="542"/>
                  </a:moveTo>
                  <a:cubicBezTo>
                    <a:pt x="1102" y="44"/>
                    <a:pt x="1102" y="44"/>
                    <a:pt x="1102" y="44"/>
                  </a:cubicBezTo>
                  <a:cubicBezTo>
                    <a:pt x="1102" y="20"/>
                    <a:pt x="1082" y="0"/>
                    <a:pt x="1058" y="0"/>
                  </a:cubicBezTo>
                  <a:cubicBezTo>
                    <a:pt x="160" y="0"/>
                    <a:pt x="160" y="0"/>
                    <a:pt x="160" y="0"/>
                  </a:cubicBezTo>
                  <a:cubicBezTo>
                    <a:pt x="136" y="0"/>
                    <a:pt x="116" y="20"/>
                    <a:pt x="116" y="44"/>
                  </a:cubicBezTo>
                  <a:cubicBezTo>
                    <a:pt x="116" y="542"/>
                    <a:pt x="116" y="542"/>
                    <a:pt x="116" y="542"/>
                  </a:cubicBezTo>
                  <a:cubicBezTo>
                    <a:pt x="0" y="542"/>
                    <a:pt x="0" y="542"/>
                    <a:pt x="0" y="542"/>
                  </a:cubicBezTo>
                  <a:cubicBezTo>
                    <a:pt x="0" y="779"/>
                    <a:pt x="0" y="779"/>
                    <a:pt x="0" y="779"/>
                  </a:cubicBezTo>
                  <a:cubicBezTo>
                    <a:pt x="1218" y="779"/>
                    <a:pt x="1218" y="779"/>
                    <a:pt x="1218" y="779"/>
                  </a:cubicBezTo>
                  <a:cubicBezTo>
                    <a:pt x="1218" y="542"/>
                    <a:pt x="1218" y="542"/>
                    <a:pt x="1218" y="542"/>
                  </a:cubicBezTo>
                  <a:lnTo>
                    <a:pt x="1102" y="542"/>
                  </a:lnTo>
                  <a:close/>
                  <a:moveTo>
                    <a:pt x="1058" y="619"/>
                  </a:moveTo>
                  <a:cubicBezTo>
                    <a:pt x="160" y="619"/>
                    <a:pt x="160" y="619"/>
                    <a:pt x="160" y="619"/>
                  </a:cubicBezTo>
                  <a:cubicBezTo>
                    <a:pt x="160" y="44"/>
                    <a:pt x="160" y="44"/>
                    <a:pt x="160" y="44"/>
                  </a:cubicBezTo>
                  <a:cubicBezTo>
                    <a:pt x="1058" y="44"/>
                    <a:pt x="1058" y="44"/>
                    <a:pt x="1058" y="44"/>
                  </a:cubicBezTo>
                  <a:lnTo>
                    <a:pt x="1058" y="6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64" name="ee4pContent2"/>
          <p:cNvSpPr txBox="1"/>
          <p:nvPr/>
        </p:nvSpPr>
        <p:spPr>
          <a:xfrm>
            <a:off x="1708205" y="3666830"/>
            <a:ext cx="10326706" cy="1477328"/>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600" dirty="0">
                <a:solidFill>
                  <a:schemeClr val="tx1">
                    <a:lumMod val="100000"/>
                  </a:schemeClr>
                </a:solidFill>
              </a:rPr>
              <a:t>Create a deck that you will present to the CEO, during a one-hour meeting, gathering:</a:t>
            </a:r>
          </a:p>
          <a:p>
            <a:pPr lvl="2">
              <a:buClr>
                <a:schemeClr val="tx2">
                  <a:lumMod val="100000"/>
                </a:schemeClr>
              </a:buClr>
              <a:buSzPct val="100000"/>
            </a:pPr>
            <a:r>
              <a:rPr lang="en-US" sz="1600" dirty="0">
                <a:solidFill>
                  <a:schemeClr val="tx1">
                    <a:lumMod val="100000"/>
                  </a:schemeClr>
                </a:solidFill>
              </a:rPr>
              <a:t>The list of ranked use cases and their value for the business (to be delivered for your Case Team Meeting)</a:t>
            </a:r>
          </a:p>
          <a:p>
            <a:pPr lvl="2">
              <a:buClr>
                <a:schemeClr val="tx2">
                  <a:lumMod val="100000"/>
                </a:schemeClr>
              </a:buClr>
              <a:buSzPct val="100000"/>
            </a:pPr>
            <a:r>
              <a:rPr lang="en-US" sz="1600" dirty="0">
                <a:solidFill>
                  <a:schemeClr val="tx1">
                    <a:lumMod val="100000"/>
                  </a:schemeClr>
                </a:solidFill>
              </a:rPr>
              <a:t>An implementation roadmap for the top 3, in 2020 </a:t>
            </a:r>
          </a:p>
          <a:p>
            <a:pPr lvl="2">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The output of your analysis on the first one (incl. a model, and an implementation roadmap for that specific use case ) </a:t>
            </a:r>
          </a:p>
          <a:p>
            <a:pPr lvl="2">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The needed budget &amp; resources for 2020 </a:t>
            </a:r>
          </a:p>
        </p:txBody>
      </p:sp>
      <p:cxnSp>
        <p:nvCxnSpPr>
          <p:cNvPr id="10" name="Straight Connector 9"/>
          <p:cNvCxnSpPr/>
          <p:nvPr/>
        </p:nvCxnSpPr>
        <p:spPr>
          <a:xfrm>
            <a:off x="1929384" y="2509728"/>
            <a:ext cx="9930384"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929384" y="3666830"/>
            <a:ext cx="9930384"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1929384" y="5171749"/>
            <a:ext cx="9930384"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214549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742" name="think-cell Slide" r:id="rId5" imgW="498" imgH="499" progId="TCLayout.ActiveDocument.1">
                  <p:embed/>
                </p:oleObj>
              </mc:Choice>
              <mc:Fallback>
                <p:oleObj name="think-cell Slide" r:id="rId5" imgW="498" imgH="499"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200" cy="424604"/>
          </a:xfrm>
        </p:spPr>
        <p:txBody>
          <a:bodyPr/>
          <a:lstStyle/>
          <a:p>
            <a:r>
              <a:rPr lang="en-US" dirty="0"/>
              <a:t>Rules and guidelines</a:t>
            </a:r>
          </a:p>
        </p:txBody>
      </p:sp>
      <p:sp>
        <p:nvSpPr>
          <p:cNvPr id="7" name="ee4pHeader1"/>
          <p:cNvSpPr txBox="1"/>
          <p:nvPr/>
        </p:nvSpPr>
        <p:spPr>
          <a:xfrm>
            <a:off x="509750" y="1982732"/>
            <a:ext cx="2581705" cy="351475"/>
          </a:xfrm>
          <a:prstGeom prst="rect">
            <a:avLst/>
          </a:prstGeom>
          <a:solidFill>
            <a:srgbClr val="F2F2F2"/>
          </a:solidFill>
          <a:ln cap="rnd">
            <a:noFill/>
          </a:ln>
        </p:spPr>
        <p:txBody>
          <a:bodyPr wrap="square" lIns="0" tIns="0" rIns="0" bIns="0" rtlCol="0" anchor="t" anchorCtr="0">
            <a:noAutofit/>
          </a:bodyPr>
          <a:lstStyle/>
          <a:p>
            <a:pPr marL="0" lvl="3"/>
            <a:r>
              <a:rPr lang="en-US" sz="2400" dirty="0">
                <a:solidFill>
                  <a:schemeClr val="tx2"/>
                </a:solidFill>
              </a:rPr>
              <a:t>Mandatory actions</a:t>
            </a:r>
          </a:p>
        </p:txBody>
      </p:sp>
      <p:sp>
        <p:nvSpPr>
          <p:cNvPr id="8" name="ee4pHeader2"/>
          <p:cNvSpPr txBox="1"/>
          <p:nvPr/>
        </p:nvSpPr>
        <p:spPr>
          <a:xfrm>
            <a:off x="6447672" y="1982732"/>
            <a:ext cx="3125942" cy="351475"/>
          </a:xfrm>
          <a:prstGeom prst="rect">
            <a:avLst/>
          </a:prstGeom>
          <a:solidFill>
            <a:srgbClr val="F2F2F2"/>
          </a:solidFill>
          <a:ln cap="rnd">
            <a:noFill/>
          </a:ln>
        </p:spPr>
        <p:txBody>
          <a:bodyPr wrap="square" lIns="0" tIns="0" rIns="0" bIns="0" rtlCol="0" anchor="t" anchorCtr="0">
            <a:noAutofit/>
          </a:bodyPr>
          <a:lstStyle/>
          <a:p>
            <a:pPr marL="0" lvl="3"/>
            <a:r>
              <a:rPr lang="en-US" sz="2400" dirty="0">
                <a:solidFill>
                  <a:schemeClr val="tx2"/>
                </a:solidFill>
              </a:rPr>
              <a:t>Do's and Don’ts</a:t>
            </a:r>
          </a:p>
        </p:txBody>
      </p:sp>
      <p:grpSp>
        <p:nvGrpSpPr>
          <p:cNvPr id="33" name="bcgIcons_Alert">
            <a:extLst>
              <a:ext uri="{FF2B5EF4-FFF2-40B4-BE49-F238E27FC236}">
                <a16:creationId xmlns:a16="http://schemas.microsoft.com/office/drawing/2014/main" id="{6F2461B8-9E9B-42D3-9C70-D9BF47AFBC8B}"/>
              </a:ext>
            </a:extLst>
          </p:cNvPr>
          <p:cNvGrpSpPr>
            <a:grpSpLocks noChangeAspect="1"/>
          </p:cNvGrpSpPr>
          <p:nvPr/>
        </p:nvGrpSpPr>
        <p:grpSpPr bwMode="auto">
          <a:xfrm>
            <a:off x="6447672" y="1107140"/>
            <a:ext cx="862722" cy="863521"/>
            <a:chOff x="1682" y="0"/>
            <a:chExt cx="4316" cy="4320"/>
          </a:xfrm>
        </p:grpSpPr>
        <p:sp>
          <p:nvSpPr>
            <p:cNvPr id="34" name="AutoShape 3">
              <a:extLst>
                <a:ext uri="{FF2B5EF4-FFF2-40B4-BE49-F238E27FC236}">
                  <a16:creationId xmlns:a16="http://schemas.microsoft.com/office/drawing/2014/main" id="{07419FD9-0E55-44F9-8014-8264F2748BC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5">
              <a:extLst>
                <a:ext uri="{FF2B5EF4-FFF2-40B4-BE49-F238E27FC236}">
                  <a16:creationId xmlns:a16="http://schemas.microsoft.com/office/drawing/2014/main" id="{7162C704-D901-4FCD-97CA-E13D43C63E39}"/>
                </a:ext>
              </a:extLst>
            </p:cNvPr>
            <p:cNvSpPr>
              <a:spLocks noEditPoints="1"/>
            </p:cNvSpPr>
            <p:nvPr/>
          </p:nvSpPr>
          <p:spPr bwMode="auto">
            <a:xfrm>
              <a:off x="2188" y="720"/>
              <a:ext cx="3300" cy="2876"/>
            </a:xfrm>
            <a:custGeom>
              <a:avLst/>
              <a:gdLst>
                <a:gd name="T0" fmla="*/ 1716 w 1762"/>
                <a:gd name="T1" fmla="*/ 1534 h 1534"/>
                <a:gd name="T2" fmla="*/ 46 w 1762"/>
                <a:gd name="T3" fmla="*/ 1534 h 1534"/>
                <a:gd name="T4" fmla="*/ 8 w 1762"/>
                <a:gd name="T5" fmla="*/ 1512 h 1534"/>
                <a:gd name="T6" fmla="*/ 8 w 1762"/>
                <a:gd name="T7" fmla="*/ 1468 h 1534"/>
                <a:gd name="T8" fmla="*/ 843 w 1762"/>
                <a:gd name="T9" fmla="*/ 22 h 1534"/>
                <a:gd name="T10" fmla="*/ 881 w 1762"/>
                <a:gd name="T11" fmla="*/ 0 h 1534"/>
                <a:gd name="T12" fmla="*/ 919 w 1762"/>
                <a:gd name="T13" fmla="*/ 22 h 1534"/>
                <a:gd name="T14" fmla="*/ 919 w 1762"/>
                <a:gd name="T15" fmla="*/ 22 h 1534"/>
                <a:gd name="T16" fmla="*/ 1754 w 1762"/>
                <a:gd name="T17" fmla="*/ 1468 h 1534"/>
                <a:gd name="T18" fmla="*/ 1754 w 1762"/>
                <a:gd name="T19" fmla="*/ 1512 h 1534"/>
                <a:gd name="T20" fmla="*/ 1716 w 1762"/>
                <a:gd name="T21" fmla="*/ 1534 h 1534"/>
                <a:gd name="T22" fmla="*/ 881 w 1762"/>
                <a:gd name="T23" fmla="*/ 44 h 1534"/>
                <a:gd name="T24" fmla="*/ 46 w 1762"/>
                <a:gd name="T25" fmla="*/ 1490 h 1534"/>
                <a:gd name="T26" fmla="*/ 1716 w 1762"/>
                <a:gd name="T27" fmla="*/ 1490 h 1534"/>
                <a:gd name="T28" fmla="*/ 881 w 1762"/>
                <a:gd name="T29" fmla="*/ 44 h 1534"/>
                <a:gd name="T30" fmla="*/ 881 w 1762"/>
                <a:gd name="T31" fmla="*/ 44 h 1534"/>
                <a:gd name="T32" fmla="*/ 881 w 1762"/>
                <a:gd name="T33" fmla="*/ 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2" h="1534">
                  <a:moveTo>
                    <a:pt x="1716" y="1534"/>
                  </a:moveTo>
                  <a:cubicBezTo>
                    <a:pt x="46" y="1534"/>
                    <a:pt x="46" y="1534"/>
                    <a:pt x="46" y="1534"/>
                  </a:cubicBezTo>
                  <a:cubicBezTo>
                    <a:pt x="30" y="1534"/>
                    <a:pt x="16" y="1526"/>
                    <a:pt x="8" y="1512"/>
                  </a:cubicBezTo>
                  <a:cubicBezTo>
                    <a:pt x="0" y="1498"/>
                    <a:pt x="0" y="1482"/>
                    <a:pt x="8" y="1468"/>
                  </a:cubicBezTo>
                  <a:cubicBezTo>
                    <a:pt x="843" y="22"/>
                    <a:pt x="843" y="22"/>
                    <a:pt x="843" y="22"/>
                  </a:cubicBezTo>
                  <a:cubicBezTo>
                    <a:pt x="851" y="8"/>
                    <a:pt x="865" y="0"/>
                    <a:pt x="881" y="0"/>
                  </a:cubicBezTo>
                  <a:cubicBezTo>
                    <a:pt x="897" y="0"/>
                    <a:pt x="911" y="8"/>
                    <a:pt x="919" y="22"/>
                  </a:cubicBezTo>
                  <a:cubicBezTo>
                    <a:pt x="919" y="22"/>
                    <a:pt x="919" y="22"/>
                    <a:pt x="919" y="22"/>
                  </a:cubicBezTo>
                  <a:cubicBezTo>
                    <a:pt x="1754" y="1468"/>
                    <a:pt x="1754" y="1468"/>
                    <a:pt x="1754" y="1468"/>
                  </a:cubicBezTo>
                  <a:cubicBezTo>
                    <a:pt x="1762" y="1482"/>
                    <a:pt x="1762" y="1498"/>
                    <a:pt x="1754" y="1512"/>
                  </a:cubicBezTo>
                  <a:cubicBezTo>
                    <a:pt x="1746" y="1526"/>
                    <a:pt x="1732" y="1534"/>
                    <a:pt x="1716" y="1534"/>
                  </a:cubicBezTo>
                  <a:close/>
                  <a:moveTo>
                    <a:pt x="881" y="44"/>
                  </a:moveTo>
                  <a:cubicBezTo>
                    <a:pt x="46" y="1490"/>
                    <a:pt x="46" y="1490"/>
                    <a:pt x="46" y="1490"/>
                  </a:cubicBezTo>
                  <a:cubicBezTo>
                    <a:pt x="1716" y="1490"/>
                    <a:pt x="1716" y="1490"/>
                    <a:pt x="1716" y="1490"/>
                  </a:cubicBezTo>
                  <a:cubicBezTo>
                    <a:pt x="881" y="44"/>
                    <a:pt x="881" y="44"/>
                    <a:pt x="881" y="44"/>
                  </a:cubicBezTo>
                  <a:cubicBezTo>
                    <a:pt x="881" y="44"/>
                    <a:pt x="881" y="44"/>
                    <a:pt x="881" y="44"/>
                  </a:cubicBezTo>
                  <a:cubicBezTo>
                    <a:pt x="881" y="44"/>
                    <a:pt x="881" y="44"/>
                    <a:pt x="881"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6">
              <a:extLst>
                <a:ext uri="{FF2B5EF4-FFF2-40B4-BE49-F238E27FC236}">
                  <a16:creationId xmlns:a16="http://schemas.microsoft.com/office/drawing/2014/main" id="{E02A2762-929F-4FB7-81AB-31E3BF4E0476}"/>
                </a:ext>
              </a:extLst>
            </p:cNvPr>
            <p:cNvSpPr>
              <a:spLocks noEditPoints="1"/>
            </p:cNvSpPr>
            <p:nvPr/>
          </p:nvSpPr>
          <p:spPr bwMode="auto">
            <a:xfrm>
              <a:off x="2426" y="982"/>
              <a:ext cx="2825" cy="2449"/>
            </a:xfrm>
            <a:custGeom>
              <a:avLst/>
              <a:gdLst>
                <a:gd name="T0" fmla="*/ 1504 w 1508"/>
                <a:gd name="T1" fmla="*/ 1291 h 1306"/>
                <a:gd name="T2" fmla="*/ 763 w 1508"/>
                <a:gd name="T3" fmla="*/ 7 h 1306"/>
                <a:gd name="T4" fmla="*/ 745 w 1508"/>
                <a:gd name="T5" fmla="*/ 7 h 1306"/>
                <a:gd name="T6" fmla="*/ 4 w 1508"/>
                <a:gd name="T7" fmla="*/ 1291 h 1306"/>
                <a:gd name="T8" fmla="*/ 13 w 1508"/>
                <a:gd name="T9" fmla="*/ 1306 h 1306"/>
                <a:gd name="T10" fmla="*/ 1495 w 1508"/>
                <a:gd name="T11" fmla="*/ 1306 h 1306"/>
                <a:gd name="T12" fmla="*/ 1504 w 1508"/>
                <a:gd name="T13" fmla="*/ 1291 h 1306"/>
                <a:gd name="T14" fmla="*/ 694 w 1508"/>
                <a:gd name="T15" fmla="*/ 419 h 1306"/>
                <a:gd name="T16" fmla="*/ 814 w 1508"/>
                <a:gd name="T17" fmla="*/ 419 h 1306"/>
                <a:gd name="T18" fmla="*/ 814 w 1508"/>
                <a:gd name="T19" fmla="*/ 608 h 1306"/>
                <a:gd name="T20" fmla="*/ 778 w 1508"/>
                <a:gd name="T21" fmla="*/ 932 h 1306"/>
                <a:gd name="T22" fmla="*/ 730 w 1508"/>
                <a:gd name="T23" fmla="*/ 932 h 1306"/>
                <a:gd name="T24" fmla="*/ 694 w 1508"/>
                <a:gd name="T25" fmla="*/ 608 h 1306"/>
                <a:gd name="T26" fmla="*/ 694 w 1508"/>
                <a:gd name="T27" fmla="*/ 419 h 1306"/>
                <a:gd name="T28" fmla="*/ 808 w 1508"/>
                <a:gd name="T29" fmla="*/ 1095 h 1306"/>
                <a:gd name="T30" fmla="*/ 755 w 1508"/>
                <a:gd name="T31" fmla="*/ 1117 h 1306"/>
                <a:gd name="T32" fmla="*/ 701 w 1508"/>
                <a:gd name="T33" fmla="*/ 1095 h 1306"/>
                <a:gd name="T34" fmla="*/ 678 w 1508"/>
                <a:gd name="T35" fmla="*/ 1041 h 1306"/>
                <a:gd name="T36" fmla="*/ 701 w 1508"/>
                <a:gd name="T37" fmla="*/ 988 h 1306"/>
                <a:gd name="T38" fmla="*/ 755 w 1508"/>
                <a:gd name="T39" fmla="*/ 965 h 1306"/>
                <a:gd name="T40" fmla="*/ 808 w 1508"/>
                <a:gd name="T41" fmla="*/ 988 h 1306"/>
                <a:gd name="T42" fmla="*/ 830 w 1508"/>
                <a:gd name="T43" fmla="*/ 1041 h 1306"/>
                <a:gd name="T44" fmla="*/ 808 w 1508"/>
                <a:gd name="T45" fmla="*/ 1095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8" h="1306">
                  <a:moveTo>
                    <a:pt x="1504" y="1291"/>
                  </a:moveTo>
                  <a:cubicBezTo>
                    <a:pt x="763" y="7"/>
                    <a:pt x="763" y="7"/>
                    <a:pt x="763" y="7"/>
                  </a:cubicBezTo>
                  <a:cubicBezTo>
                    <a:pt x="759" y="0"/>
                    <a:pt x="749" y="0"/>
                    <a:pt x="745" y="7"/>
                  </a:cubicBezTo>
                  <a:cubicBezTo>
                    <a:pt x="4" y="1291"/>
                    <a:pt x="4" y="1291"/>
                    <a:pt x="4" y="1291"/>
                  </a:cubicBezTo>
                  <a:cubicBezTo>
                    <a:pt x="0" y="1298"/>
                    <a:pt x="5" y="1306"/>
                    <a:pt x="13" y="1306"/>
                  </a:cubicBezTo>
                  <a:cubicBezTo>
                    <a:pt x="1495" y="1306"/>
                    <a:pt x="1495" y="1306"/>
                    <a:pt x="1495" y="1306"/>
                  </a:cubicBezTo>
                  <a:cubicBezTo>
                    <a:pt x="1503" y="1306"/>
                    <a:pt x="1508" y="1298"/>
                    <a:pt x="1504" y="1291"/>
                  </a:cubicBezTo>
                  <a:close/>
                  <a:moveTo>
                    <a:pt x="694" y="419"/>
                  </a:moveTo>
                  <a:cubicBezTo>
                    <a:pt x="814" y="419"/>
                    <a:pt x="814" y="419"/>
                    <a:pt x="814" y="419"/>
                  </a:cubicBezTo>
                  <a:cubicBezTo>
                    <a:pt x="814" y="608"/>
                    <a:pt x="814" y="608"/>
                    <a:pt x="814" y="608"/>
                  </a:cubicBezTo>
                  <a:cubicBezTo>
                    <a:pt x="814" y="669"/>
                    <a:pt x="803" y="778"/>
                    <a:pt x="778" y="932"/>
                  </a:cubicBezTo>
                  <a:cubicBezTo>
                    <a:pt x="730" y="932"/>
                    <a:pt x="730" y="932"/>
                    <a:pt x="730" y="932"/>
                  </a:cubicBezTo>
                  <a:cubicBezTo>
                    <a:pt x="706" y="778"/>
                    <a:pt x="694" y="669"/>
                    <a:pt x="694" y="608"/>
                  </a:cubicBezTo>
                  <a:lnTo>
                    <a:pt x="694" y="419"/>
                  </a:lnTo>
                  <a:close/>
                  <a:moveTo>
                    <a:pt x="808" y="1095"/>
                  </a:moveTo>
                  <a:cubicBezTo>
                    <a:pt x="794" y="1110"/>
                    <a:pt x="776" y="1117"/>
                    <a:pt x="755" y="1117"/>
                  </a:cubicBezTo>
                  <a:cubicBezTo>
                    <a:pt x="733" y="1117"/>
                    <a:pt x="715" y="1110"/>
                    <a:pt x="701" y="1095"/>
                  </a:cubicBezTo>
                  <a:cubicBezTo>
                    <a:pt x="686" y="1080"/>
                    <a:pt x="678" y="1063"/>
                    <a:pt x="678" y="1041"/>
                  </a:cubicBezTo>
                  <a:cubicBezTo>
                    <a:pt x="678" y="1020"/>
                    <a:pt x="686" y="1002"/>
                    <a:pt x="701" y="988"/>
                  </a:cubicBezTo>
                  <a:cubicBezTo>
                    <a:pt x="715" y="973"/>
                    <a:pt x="733" y="965"/>
                    <a:pt x="755" y="965"/>
                  </a:cubicBezTo>
                  <a:cubicBezTo>
                    <a:pt x="776" y="965"/>
                    <a:pt x="794" y="973"/>
                    <a:pt x="808" y="988"/>
                  </a:cubicBezTo>
                  <a:cubicBezTo>
                    <a:pt x="823" y="1002"/>
                    <a:pt x="830" y="1020"/>
                    <a:pt x="830" y="1041"/>
                  </a:cubicBezTo>
                  <a:cubicBezTo>
                    <a:pt x="830" y="1063"/>
                    <a:pt x="823" y="1080"/>
                    <a:pt x="808" y="10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ee4pContent1"/>
          <p:cNvSpPr txBox="1"/>
          <p:nvPr/>
        </p:nvSpPr>
        <p:spPr>
          <a:xfrm>
            <a:off x="509750" y="2491486"/>
            <a:ext cx="5278507" cy="411614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800" dirty="0">
                <a:solidFill>
                  <a:srgbClr val="575757"/>
                </a:solidFill>
              </a:rPr>
              <a:t>List possible </a:t>
            </a:r>
            <a:r>
              <a:rPr lang="en-US" sz="1800" b="1" dirty="0">
                <a:solidFill>
                  <a:srgbClr val="575757"/>
                </a:solidFill>
              </a:rPr>
              <a:t>8-10 data use cases </a:t>
            </a:r>
            <a:r>
              <a:rPr lang="en-US" sz="1800" dirty="0">
                <a:solidFill>
                  <a:srgbClr val="575757"/>
                </a:solidFill>
              </a:rPr>
              <a:t>and </a:t>
            </a:r>
            <a:r>
              <a:rPr lang="en-US" sz="1800" b="1" dirty="0">
                <a:solidFill>
                  <a:srgbClr val="575757"/>
                </a:solidFill>
              </a:rPr>
              <a:t>prioritize 3</a:t>
            </a:r>
            <a:r>
              <a:rPr lang="en-US" sz="1800" dirty="0">
                <a:solidFill>
                  <a:srgbClr val="575757"/>
                </a:solidFill>
              </a:rPr>
              <a:t> of them in a program roadmap (for mid-project </a:t>
            </a:r>
            <a:r>
              <a:rPr lang="en-US" sz="1800" dirty="0" err="1">
                <a:solidFill>
                  <a:srgbClr val="575757"/>
                </a:solidFill>
              </a:rPr>
              <a:t>CTM</a:t>
            </a:r>
            <a:r>
              <a:rPr lang="en-US" sz="1800" dirty="0">
                <a:solidFill>
                  <a:srgbClr val="575757"/>
                </a:solidFill>
              </a:rPr>
              <a:t>)</a:t>
            </a:r>
          </a:p>
          <a:p>
            <a:pPr lvl="1">
              <a:buClr>
                <a:schemeClr val="tx2">
                  <a:lumMod val="100000"/>
                </a:schemeClr>
              </a:buClr>
              <a:buSzPct val="100000"/>
            </a:pPr>
            <a:endParaRPr lang="en-US" sz="1800" dirty="0">
              <a:solidFill>
                <a:srgbClr val="575757"/>
              </a:solidFill>
            </a:endParaRPr>
          </a:p>
          <a:p>
            <a:pPr lvl="1">
              <a:buClr>
                <a:schemeClr val="tx2">
                  <a:lumMod val="100000"/>
                </a:schemeClr>
              </a:buClr>
              <a:buSzPct val="100000"/>
            </a:pPr>
            <a:r>
              <a:rPr lang="en-US" sz="1800" b="1" dirty="0">
                <a:solidFill>
                  <a:srgbClr val="575757"/>
                </a:solidFill>
              </a:rPr>
              <a:t>Address the one </a:t>
            </a:r>
            <a:r>
              <a:rPr lang="en-US" sz="1800" dirty="0">
                <a:solidFill>
                  <a:srgbClr val="575757"/>
                </a:solidFill>
              </a:rPr>
              <a:t>that seems to be the most easy to implement, and valuable for the business. You will have to develop a model using the granted data and an implementation roadmap for that specific use case </a:t>
            </a:r>
            <a:endParaRPr lang="en-US" sz="1800" b="1" dirty="0">
              <a:solidFill>
                <a:srgbClr val="575757"/>
              </a:solidFill>
            </a:endParaRPr>
          </a:p>
          <a:p>
            <a:pPr marL="432000" lvl="2" indent="0">
              <a:buClr>
                <a:schemeClr val="tx2">
                  <a:lumMod val="100000"/>
                </a:schemeClr>
              </a:buClr>
              <a:buSzPct val="100000"/>
              <a:buNone/>
            </a:pPr>
            <a:endParaRPr lang="en-US" sz="1800" dirty="0">
              <a:solidFill>
                <a:srgbClr val="575757"/>
              </a:solidFill>
            </a:endParaRPr>
          </a:p>
          <a:p>
            <a:pPr lvl="1">
              <a:buClr>
                <a:schemeClr val="tx2">
                  <a:lumMod val="100000"/>
                </a:schemeClr>
              </a:buClr>
              <a:buSzPct val="100000"/>
            </a:pPr>
            <a:r>
              <a:rPr lang="en-US" sz="1800" dirty="0">
                <a:solidFill>
                  <a:srgbClr val="575757"/>
                </a:solidFill>
              </a:rPr>
              <a:t>Present to the CEO your </a:t>
            </a:r>
            <a:r>
              <a:rPr lang="en-US" sz="1800" b="1" dirty="0">
                <a:solidFill>
                  <a:srgbClr val="575757"/>
                </a:solidFill>
              </a:rPr>
              <a:t>overall business story,</a:t>
            </a:r>
            <a:r>
              <a:rPr lang="en-US" sz="1800" dirty="0">
                <a:solidFill>
                  <a:srgbClr val="575757"/>
                </a:solidFill>
              </a:rPr>
              <a:t> and convince him to grant you the </a:t>
            </a:r>
            <a:r>
              <a:rPr lang="en-US" sz="1800" b="1" dirty="0">
                <a:solidFill>
                  <a:srgbClr val="575757"/>
                </a:solidFill>
              </a:rPr>
              <a:t>required resources and budget</a:t>
            </a:r>
            <a:r>
              <a:rPr lang="en-US" sz="1800" dirty="0">
                <a:solidFill>
                  <a:srgbClr val="575757"/>
                </a:solidFill>
              </a:rPr>
              <a:t> to move forward and scale-up the whole AI program </a:t>
            </a:r>
            <a:endParaRPr lang="en-US" sz="1800" b="1" dirty="0">
              <a:solidFill>
                <a:srgbClr val="575757"/>
              </a:solidFill>
            </a:endParaRPr>
          </a:p>
        </p:txBody>
      </p:sp>
      <p:sp>
        <p:nvSpPr>
          <p:cNvPr id="28" name="ee4pContent2"/>
          <p:cNvSpPr txBox="1"/>
          <p:nvPr/>
        </p:nvSpPr>
        <p:spPr>
          <a:xfrm>
            <a:off x="6447672" y="2491486"/>
            <a:ext cx="5115528" cy="379708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800" dirty="0">
                <a:solidFill>
                  <a:schemeClr val="tx1">
                    <a:lumMod val="100000"/>
                  </a:schemeClr>
                </a:solidFill>
              </a:rPr>
              <a:t>Use </a:t>
            </a:r>
            <a:r>
              <a:rPr lang="en-US" sz="1800" b="1" dirty="0">
                <a:solidFill>
                  <a:schemeClr val="tx1">
                    <a:lumMod val="100000"/>
                  </a:schemeClr>
                </a:solidFill>
              </a:rPr>
              <a:t>business sense </a:t>
            </a:r>
            <a:r>
              <a:rPr lang="en-US" sz="1800" dirty="0">
                <a:solidFill>
                  <a:schemeClr val="tx1">
                    <a:lumMod val="100000"/>
                  </a:schemeClr>
                </a:solidFill>
              </a:rPr>
              <a:t>and </a:t>
            </a:r>
            <a:r>
              <a:rPr lang="en-US" sz="1800" b="1" dirty="0">
                <a:solidFill>
                  <a:schemeClr val="tx1">
                    <a:lumMod val="100000"/>
                  </a:schemeClr>
                </a:solidFill>
              </a:rPr>
              <a:t>pragmatism</a:t>
            </a:r>
            <a:r>
              <a:rPr lang="en-US" sz="1800" dirty="0">
                <a:solidFill>
                  <a:schemeClr val="tx1">
                    <a:lumMod val="100000"/>
                  </a:schemeClr>
                </a:solidFill>
              </a:rPr>
              <a:t> when prioritizing use-cases and defining implementation roadmap</a:t>
            </a:r>
          </a:p>
          <a:p>
            <a:pPr lvl="1">
              <a:buClr>
                <a:schemeClr val="tx2">
                  <a:lumMod val="100000"/>
                </a:schemeClr>
              </a:buClr>
              <a:buSzPct val="100000"/>
            </a:pPr>
            <a:endParaRPr lang="en-US" sz="1800" dirty="0">
              <a:solidFill>
                <a:schemeClr val="tx1">
                  <a:lumMod val="100000"/>
                </a:schemeClr>
              </a:solidFill>
            </a:endParaRPr>
          </a:p>
          <a:p>
            <a:pPr lvl="1">
              <a:buClr>
                <a:schemeClr val="tx2">
                  <a:lumMod val="100000"/>
                </a:schemeClr>
              </a:buClr>
              <a:buSzPct val="100000"/>
            </a:pPr>
            <a:r>
              <a:rPr lang="en-US" sz="1800" dirty="0">
                <a:solidFill>
                  <a:schemeClr val="tx1">
                    <a:lumMod val="100000"/>
                  </a:schemeClr>
                </a:solidFill>
              </a:rPr>
              <a:t>Act as if you were in </a:t>
            </a:r>
            <a:r>
              <a:rPr lang="en-US" sz="1800" b="1" dirty="0">
                <a:solidFill>
                  <a:schemeClr val="tx1">
                    <a:lumMod val="100000"/>
                  </a:schemeClr>
                </a:solidFill>
              </a:rPr>
              <a:t>real-life</a:t>
            </a:r>
            <a:r>
              <a:rPr lang="en-US" sz="1800" dirty="0">
                <a:solidFill>
                  <a:schemeClr val="tx1">
                    <a:lumMod val="100000"/>
                  </a:schemeClr>
                </a:solidFill>
              </a:rPr>
              <a:t> scenario: make assumptions if necessary</a:t>
            </a:r>
          </a:p>
          <a:p>
            <a:pPr lvl="1">
              <a:buClr>
                <a:schemeClr val="tx2">
                  <a:lumMod val="100000"/>
                </a:schemeClr>
              </a:buClr>
              <a:buSzPct val="100000"/>
            </a:pPr>
            <a:endParaRPr lang="en-US" sz="1800" dirty="0">
              <a:solidFill>
                <a:schemeClr val="tx1">
                  <a:lumMod val="100000"/>
                </a:schemeClr>
              </a:solidFill>
            </a:endParaRPr>
          </a:p>
          <a:p>
            <a:pPr lvl="1">
              <a:buClr>
                <a:schemeClr val="tx2">
                  <a:lumMod val="100000"/>
                </a:schemeClr>
              </a:buClr>
              <a:buSzPct val="100000"/>
            </a:pPr>
            <a:r>
              <a:rPr lang="en-US" sz="1800" b="1" dirty="0">
                <a:solidFill>
                  <a:schemeClr val="tx1">
                    <a:lumMod val="100000"/>
                  </a:schemeClr>
                </a:solidFill>
              </a:rPr>
              <a:t>Organize </a:t>
            </a:r>
            <a:r>
              <a:rPr lang="en-US" sz="1800" dirty="0">
                <a:solidFill>
                  <a:schemeClr val="tx1">
                    <a:lumMod val="100000"/>
                  </a:schemeClr>
                </a:solidFill>
              </a:rPr>
              <a:t>your work within the team </a:t>
            </a:r>
          </a:p>
          <a:p>
            <a:pPr marL="108000" lvl="1" indent="0">
              <a:buClr>
                <a:schemeClr val="tx2">
                  <a:lumMod val="100000"/>
                </a:schemeClr>
              </a:buClr>
              <a:buSzPct val="100000"/>
              <a:buNone/>
            </a:pPr>
            <a:endParaRPr lang="fr-FR" sz="1800" dirty="0">
              <a:solidFill>
                <a:schemeClr val="tx1">
                  <a:lumMod val="100000"/>
                </a:schemeClr>
              </a:solidFill>
            </a:endParaRPr>
          </a:p>
          <a:p>
            <a:pPr lvl="1">
              <a:buClr>
                <a:schemeClr val="tx2">
                  <a:lumMod val="100000"/>
                </a:schemeClr>
              </a:buClr>
              <a:buSzPct val="100000"/>
            </a:pPr>
            <a:r>
              <a:rPr lang="en-US" sz="1800" dirty="0">
                <a:solidFill>
                  <a:schemeClr val="tx1">
                    <a:lumMod val="100000"/>
                  </a:schemeClr>
                </a:solidFill>
              </a:rPr>
              <a:t>Don't forget to work on your </a:t>
            </a:r>
            <a:r>
              <a:rPr lang="en-US" sz="1800" b="1" dirty="0">
                <a:solidFill>
                  <a:schemeClr val="tx1">
                    <a:lumMod val="100000"/>
                  </a:schemeClr>
                </a:solidFill>
              </a:rPr>
              <a:t>oral &amp; written communication</a:t>
            </a:r>
            <a:r>
              <a:rPr lang="en-US" sz="1800" dirty="0">
                <a:solidFill>
                  <a:schemeClr val="tx1">
                    <a:lumMod val="100000"/>
                  </a:schemeClr>
                </a:solidFill>
              </a:rPr>
              <a:t>: be prepared to present your model to non data scientists and present your analysis the clearest way possible</a:t>
            </a:r>
          </a:p>
          <a:p>
            <a:pPr lvl="1">
              <a:buClr>
                <a:schemeClr val="tx2">
                  <a:lumMod val="100000"/>
                </a:schemeClr>
              </a:buClr>
              <a:buSzPct val="100000"/>
            </a:pPr>
            <a:endParaRPr lang="en-US" sz="1800" dirty="0">
              <a:solidFill>
                <a:schemeClr val="tx1">
                  <a:lumMod val="100000"/>
                </a:schemeClr>
              </a:solidFill>
              <a:latin typeface="+mn-lt"/>
            </a:endParaRPr>
          </a:p>
          <a:p>
            <a:pPr lvl="1">
              <a:buClr>
                <a:schemeClr val="tx2">
                  <a:lumMod val="100000"/>
                </a:schemeClr>
              </a:buClr>
              <a:buSzPct val="100000"/>
            </a:pPr>
            <a:r>
              <a:rPr lang="en-US" sz="1800" dirty="0">
                <a:solidFill>
                  <a:schemeClr val="tx1">
                    <a:lumMod val="100000"/>
                  </a:schemeClr>
                </a:solidFill>
                <a:latin typeface="+mn-lt"/>
              </a:rPr>
              <a:t>Be creative!</a:t>
            </a:r>
            <a:endParaRPr lang="en-US" sz="1800" dirty="0">
              <a:latin typeface="+mn-lt"/>
            </a:endParaRPr>
          </a:p>
          <a:p>
            <a:endParaRPr lang="en-US" sz="1800" dirty="0">
              <a:latin typeface="+mn-lt"/>
            </a:endParaRPr>
          </a:p>
        </p:txBody>
      </p:sp>
      <p:grpSp>
        <p:nvGrpSpPr>
          <p:cNvPr id="40" name="Group 39">
            <a:extLst>
              <a:ext uri="{FF2B5EF4-FFF2-40B4-BE49-F238E27FC236}">
                <a16:creationId xmlns:a16="http://schemas.microsoft.com/office/drawing/2014/main" id="{C5268A82-A04E-4088-A163-F55078806F38}"/>
              </a:ext>
            </a:extLst>
          </p:cNvPr>
          <p:cNvGrpSpPr>
            <a:grpSpLocks noChangeAspect="1"/>
          </p:cNvGrpSpPr>
          <p:nvPr/>
        </p:nvGrpSpPr>
        <p:grpSpPr>
          <a:xfrm>
            <a:off x="506947" y="1204683"/>
            <a:ext cx="864355" cy="863521"/>
            <a:chOff x="6464300" y="2606675"/>
            <a:chExt cx="1646238" cy="1644650"/>
          </a:xfrm>
        </p:grpSpPr>
        <p:sp>
          <p:nvSpPr>
            <p:cNvPr id="41" name="AutoShape 3">
              <a:extLst>
                <a:ext uri="{FF2B5EF4-FFF2-40B4-BE49-F238E27FC236}">
                  <a16:creationId xmlns:a16="http://schemas.microsoft.com/office/drawing/2014/main" id="{2387E5AF-96FE-412D-A4B9-325CBB8FD83B}"/>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2" name="Group 41">
              <a:extLst>
                <a:ext uri="{FF2B5EF4-FFF2-40B4-BE49-F238E27FC236}">
                  <a16:creationId xmlns:a16="http://schemas.microsoft.com/office/drawing/2014/main" id="{25B75BE6-3400-4540-AF50-DE5D81E9FA28}"/>
                </a:ext>
              </a:extLst>
            </p:cNvPr>
            <p:cNvGrpSpPr/>
            <p:nvPr/>
          </p:nvGrpSpPr>
          <p:grpSpPr>
            <a:xfrm>
              <a:off x="6634163" y="2962275"/>
              <a:ext cx="1306513" cy="933450"/>
              <a:chOff x="6634163" y="2962275"/>
              <a:chExt cx="1306513" cy="933450"/>
            </a:xfrm>
          </p:grpSpPr>
          <p:sp>
            <p:nvSpPr>
              <p:cNvPr id="43" name="Freeform 13">
                <a:extLst>
                  <a:ext uri="{FF2B5EF4-FFF2-40B4-BE49-F238E27FC236}">
                    <a16:creationId xmlns:a16="http://schemas.microsoft.com/office/drawing/2014/main" id="{A8313E85-7988-4DDA-860B-EEFB77065DFE}"/>
                  </a:ext>
                </a:extLst>
              </p:cNvPr>
              <p:cNvSpPr>
                <a:spLocks/>
              </p:cNvSpPr>
              <p:nvPr/>
            </p:nvSpPr>
            <p:spPr bwMode="auto">
              <a:xfrm>
                <a:off x="6634163" y="2962275"/>
                <a:ext cx="1306513" cy="933450"/>
              </a:xfrm>
              <a:custGeom>
                <a:avLst/>
                <a:gdLst>
                  <a:gd name="connsiteX0" fmla="*/ 31750 w 1306513"/>
                  <a:gd name="connsiteY0" fmla="*/ 31750 h 933450"/>
                  <a:gd name="connsiteX1" fmla="*/ 31750 w 1306513"/>
                  <a:gd name="connsiteY1" fmla="*/ 901700 h 933450"/>
                  <a:gd name="connsiteX2" fmla="*/ 1274763 w 1306513"/>
                  <a:gd name="connsiteY2" fmla="*/ 901700 h 933450"/>
                  <a:gd name="connsiteX3" fmla="*/ 1274763 w 1306513"/>
                  <a:gd name="connsiteY3" fmla="*/ 31750 h 933450"/>
                  <a:gd name="connsiteX4" fmla="*/ 31750 w 1306513"/>
                  <a:gd name="connsiteY4" fmla="*/ 31750 h 933450"/>
                  <a:gd name="connsiteX5" fmla="*/ 15724 w 1306513"/>
                  <a:gd name="connsiteY5" fmla="*/ 0 h 933450"/>
                  <a:gd name="connsiteX6" fmla="*/ 1290789 w 1306513"/>
                  <a:gd name="connsiteY6" fmla="*/ 0 h 933450"/>
                  <a:gd name="connsiteX7" fmla="*/ 1306513 w 1306513"/>
                  <a:gd name="connsiteY7" fmla="*/ 15724 h 933450"/>
                  <a:gd name="connsiteX8" fmla="*/ 1306513 w 1306513"/>
                  <a:gd name="connsiteY8" fmla="*/ 917726 h 933450"/>
                  <a:gd name="connsiteX9" fmla="*/ 1290789 w 1306513"/>
                  <a:gd name="connsiteY9" fmla="*/ 933450 h 933450"/>
                  <a:gd name="connsiteX10" fmla="*/ 15724 w 1306513"/>
                  <a:gd name="connsiteY10" fmla="*/ 933450 h 933450"/>
                  <a:gd name="connsiteX11" fmla="*/ 0 w 1306513"/>
                  <a:gd name="connsiteY11" fmla="*/ 917726 h 933450"/>
                  <a:gd name="connsiteX12" fmla="*/ 0 w 1306513"/>
                  <a:gd name="connsiteY12" fmla="*/ 15724 h 933450"/>
                  <a:gd name="connsiteX13" fmla="*/ 15724 w 1306513"/>
                  <a:gd name="connsiteY13" fmla="*/ 0 h 93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6513" h="933450">
                    <a:moveTo>
                      <a:pt x="31750" y="31750"/>
                    </a:moveTo>
                    <a:cubicBezTo>
                      <a:pt x="31750" y="31750"/>
                      <a:pt x="31750" y="31750"/>
                      <a:pt x="31750" y="901700"/>
                    </a:cubicBezTo>
                    <a:cubicBezTo>
                      <a:pt x="31750" y="901700"/>
                      <a:pt x="31750" y="901700"/>
                      <a:pt x="1274763" y="901700"/>
                    </a:cubicBezTo>
                    <a:cubicBezTo>
                      <a:pt x="1274763" y="901700"/>
                      <a:pt x="1274763" y="901700"/>
                      <a:pt x="1274763" y="31750"/>
                    </a:cubicBezTo>
                    <a:cubicBezTo>
                      <a:pt x="1274763" y="31750"/>
                      <a:pt x="1274763" y="31750"/>
                      <a:pt x="31750" y="31750"/>
                    </a:cubicBezTo>
                    <a:close/>
                    <a:moveTo>
                      <a:pt x="15724" y="0"/>
                    </a:moveTo>
                    <a:cubicBezTo>
                      <a:pt x="15724" y="0"/>
                      <a:pt x="15724" y="0"/>
                      <a:pt x="1290789" y="0"/>
                    </a:cubicBezTo>
                    <a:cubicBezTo>
                      <a:pt x="1299366" y="0"/>
                      <a:pt x="1306513" y="6433"/>
                      <a:pt x="1306513" y="15724"/>
                    </a:cubicBezTo>
                    <a:cubicBezTo>
                      <a:pt x="1306513" y="15724"/>
                      <a:pt x="1306513" y="15724"/>
                      <a:pt x="1306513" y="917726"/>
                    </a:cubicBezTo>
                    <a:cubicBezTo>
                      <a:pt x="1306513" y="927017"/>
                      <a:pt x="1299366" y="933450"/>
                      <a:pt x="1290789" y="933450"/>
                    </a:cubicBezTo>
                    <a:cubicBezTo>
                      <a:pt x="1290789" y="933450"/>
                      <a:pt x="1290789" y="933450"/>
                      <a:pt x="15724" y="933450"/>
                    </a:cubicBezTo>
                    <a:cubicBezTo>
                      <a:pt x="7147" y="933450"/>
                      <a:pt x="0" y="927017"/>
                      <a:pt x="0" y="917726"/>
                    </a:cubicBezTo>
                    <a:cubicBezTo>
                      <a:pt x="0" y="917726"/>
                      <a:pt x="0" y="917726"/>
                      <a:pt x="0" y="15724"/>
                    </a:cubicBezTo>
                    <a:cubicBezTo>
                      <a:pt x="0" y="6433"/>
                      <a:pt x="7147" y="0"/>
                      <a:pt x="1572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4" name="Freeform 14">
                <a:extLst>
                  <a:ext uri="{FF2B5EF4-FFF2-40B4-BE49-F238E27FC236}">
                    <a16:creationId xmlns:a16="http://schemas.microsoft.com/office/drawing/2014/main" id="{23262F82-68CE-4DE4-B659-C21E7D23A8FE}"/>
                  </a:ext>
                </a:extLst>
              </p:cNvPr>
              <p:cNvSpPr>
                <a:spLocks noChangeArrowheads="1"/>
              </p:cNvSpPr>
              <p:nvPr/>
            </p:nvSpPr>
            <p:spPr bwMode="auto">
              <a:xfrm>
                <a:off x="6697663" y="3025775"/>
                <a:ext cx="1179513" cy="806450"/>
              </a:xfrm>
              <a:custGeom>
                <a:avLst/>
                <a:gdLst>
                  <a:gd name="connsiteX0" fmla="*/ 776109 w 1179513"/>
                  <a:gd name="connsiteY0" fmla="*/ 581025 h 806450"/>
                  <a:gd name="connsiteX1" fmla="*/ 760412 w 1179513"/>
                  <a:gd name="connsiteY1" fmla="*/ 596900 h 806450"/>
                  <a:gd name="connsiteX2" fmla="*/ 776109 w 1179513"/>
                  <a:gd name="connsiteY2" fmla="*/ 612775 h 806450"/>
                  <a:gd name="connsiteX3" fmla="*/ 998716 w 1179513"/>
                  <a:gd name="connsiteY3" fmla="*/ 612775 h 806450"/>
                  <a:gd name="connsiteX4" fmla="*/ 1014412 w 1179513"/>
                  <a:gd name="connsiteY4" fmla="*/ 596900 h 806450"/>
                  <a:gd name="connsiteX5" fmla="*/ 998716 w 1179513"/>
                  <a:gd name="connsiteY5" fmla="*/ 581025 h 806450"/>
                  <a:gd name="connsiteX6" fmla="*/ 776109 w 1179513"/>
                  <a:gd name="connsiteY6" fmla="*/ 581025 h 806450"/>
                  <a:gd name="connsiteX7" fmla="*/ 776059 w 1179513"/>
                  <a:gd name="connsiteY7" fmla="*/ 517525 h 806450"/>
                  <a:gd name="connsiteX8" fmla="*/ 760412 w 1179513"/>
                  <a:gd name="connsiteY8" fmla="*/ 532607 h 806450"/>
                  <a:gd name="connsiteX9" fmla="*/ 776059 w 1179513"/>
                  <a:gd name="connsiteY9" fmla="*/ 547688 h 806450"/>
                  <a:gd name="connsiteX10" fmla="*/ 1032103 w 1179513"/>
                  <a:gd name="connsiteY10" fmla="*/ 547688 h 806450"/>
                  <a:gd name="connsiteX11" fmla="*/ 1047750 w 1179513"/>
                  <a:gd name="connsiteY11" fmla="*/ 532607 h 806450"/>
                  <a:gd name="connsiteX12" fmla="*/ 1032103 w 1179513"/>
                  <a:gd name="connsiteY12" fmla="*/ 517525 h 806450"/>
                  <a:gd name="connsiteX13" fmla="*/ 776059 w 1179513"/>
                  <a:gd name="connsiteY13" fmla="*/ 517525 h 806450"/>
                  <a:gd name="connsiteX14" fmla="*/ 776059 w 1179513"/>
                  <a:gd name="connsiteY14" fmla="*/ 450850 h 806450"/>
                  <a:gd name="connsiteX15" fmla="*/ 760412 w 1179513"/>
                  <a:gd name="connsiteY15" fmla="*/ 466725 h 806450"/>
                  <a:gd name="connsiteX16" fmla="*/ 776059 w 1179513"/>
                  <a:gd name="connsiteY16" fmla="*/ 482600 h 806450"/>
                  <a:gd name="connsiteX17" fmla="*/ 1032103 w 1179513"/>
                  <a:gd name="connsiteY17" fmla="*/ 482600 h 806450"/>
                  <a:gd name="connsiteX18" fmla="*/ 1047750 w 1179513"/>
                  <a:gd name="connsiteY18" fmla="*/ 466725 h 806450"/>
                  <a:gd name="connsiteX19" fmla="*/ 1032103 w 1179513"/>
                  <a:gd name="connsiteY19" fmla="*/ 450850 h 806450"/>
                  <a:gd name="connsiteX20" fmla="*/ 776059 w 1179513"/>
                  <a:gd name="connsiteY20" fmla="*/ 450850 h 806450"/>
                  <a:gd name="connsiteX21" fmla="*/ 482600 w 1179513"/>
                  <a:gd name="connsiteY21" fmla="*/ 258763 h 806450"/>
                  <a:gd name="connsiteX22" fmla="*/ 666510 w 1179513"/>
                  <a:gd name="connsiteY22" fmla="*/ 258763 h 806450"/>
                  <a:gd name="connsiteX23" fmla="*/ 709613 w 1179513"/>
                  <a:gd name="connsiteY23" fmla="*/ 306388 h 806450"/>
                  <a:gd name="connsiteX24" fmla="*/ 666510 w 1179513"/>
                  <a:gd name="connsiteY24" fmla="*/ 354013 h 806450"/>
                  <a:gd name="connsiteX25" fmla="*/ 482600 w 1179513"/>
                  <a:gd name="connsiteY25" fmla="*/ 354013 h 806450"/>
                  <a:gd name="connsiteX26" fmla="*/ 515646 w 1179513"/>
                  <a:gd name="connsiteY26" fmla="*/ 317212 h 806450"/>
                  <a:gd name="connsiteX27" fmla="*/ 515646 w 1179513"/>
                  <a:gd name="connsiteY27" fmla="*/ 295564 h 806450"/>
                  <a:gd name="connsiteX28" fmla="*/ 482600 w 1179513"/>
                  <a:gd name="connsiteY28" fmla="*/ 258763 h 806450"/>
                  <a:gd name="connsiteX29" fmla="*/ 134937 w 1179513"/>
                  <a:gd name="connsiteY29" fmla="*/ 258763 h 806450"/>
                  <a:gd name="connsiteX30" fmla="*/ 338082 w 1179513"/>
                  <a:gd name="connsiteY30" fmla="*/ 258763 h 806450"/>
                  <a:gd name="connsiteX31" fmla="*/ 381000 w 1179513"/>
                  <a:gd name="connsiteY31" fmla="*/ 306388 h 806450"/>
                  <a:gd name="connsiteX32" fmla="*/ 338082 w 1179513"/>
                  <a:gd name="connsiteY32" fmla="*/ 354013 h 806450"/>
                  <a:gd name="connsiteX33" fmla="*/ 134937 w 1179513"/>
                  <a:gd name="connsiteY33" fmla="*/ 354013 h 806450"/>
                  <a:gd name="connsiteX34" fmla="*/ 134937 w 1179513"/>
                  <a:gd name="connsiteY34" fmla="*/ 258763 h 806450"/>
                  <a:gd name="connsiteX35" fmla="*/ 775940 w 1179513"/>
                  <a:gd name="connsiteY35" fmla="*/ 227013 h 806450"/>
                  <a:gd name="connsiteX36" fmla="*/ 761678 w 1179513"/>
                  <a:gd name="connsiteY36" fmla="*/ 236300 h 806450"/>
                  <a:gd name="connsiteX37" fmla="*/ 764530 w 1179513"/>
                  <a:gd name="connsiteY37" fmla="*/ 253445 h 806450"/>
                  <a:gd name="connsiteX38" fmla="*/ 811596 w 1179513"/>
                  <a:gd name="connsiteY38" fmla="*/ 305595 h 806450"/>
                  <a:gd name="connsiteX39" fmla="*/ 764530 w 1179513"/>
                  <a:gd name="connsiteY39" fmla="*/ 357744 h 806450"/>
                  <a:gd name="connsiteX40" fmla="*/ 761678 w 1179513"/>
                  <a:gd name="connsiteY40" fmla="*/ 374889 h 806450"/>
                  <a:gd name="connsiteX41" fmla="*/ 775940 w 1179513"/>
                  <a:gd name="connsiteY41" fmla="*/ 384176 h 806450"/>
                  <a:gd name="connsiteX42" fmla="*/ 1000574 w 1179513"/>
                  <a:gd name="connsiteY42" fmla="*/ 384176 h 806450"/>
                  <a:gd name="connsiteX43" fmla="*/ 1011984 w 1179513"/>
                  <a:gd name="connsiteY43" fmla="*/ 379175 h 806450"/>
                  <a:gd name="connsiteX44" fmla="*/ 1069033 w 1179513"/>
                  <a:gd name="connsiteY44" fmla="*/ 316310 h 806450"/>
                  <a:gd name="connsiteX45" fmla="*/ 1069033 w 1179513"/>
                  <a:gd name="connsiteY45" fmla="*/ 294879 h 806450"/>
                  <a:gd name="connsiteX46" fmla="*/ 1011984 w 1179513"/>
                  <a:gd name="connsiteY46" fmla="*/ 232014 h 806450"/>
                  <a:gd name="connsiteX47" fmla="*/ 1000574 w 1179513"/>
                  <a:gd name="connsiteY47" fmla="*/ 227013 h 806450"/>
                  <a:gd name="connsiteX48" fmla="*/ 775940 w 1179513"/>
                  <a:gd name="connsiteY48" fmla="*/ 227013 h 806450"/>
                  <a:gd name="connsiteX49" fmla="*/ 447374 w 1179513"/>
                  <a:gd name="connsiteY49" fmla="*/ 227013 h 806450"/>
                  <a:gd name="connsiteX50" fmla="*/ 433073 w 1179513"/>
                  <a:gd name="connsiteY50" fmla="*/ 236300 h 806450"/>
                  <a:gd name="connsiteX51" fmla="*/ 435933 w 1179513"/>
                  <a:gd name="connsiteY51" fmla="*/ 253445 h 806450"/>
                  <a:gd name="connsiteX52" fmla="*/ 483129 w 1179513"/>
                  <a:gd name="connsiteY52" fmla="*/ 305595 h 806450"/>
                  <a:gd name="connsiteX53" fmla="*/ 435933 w 1179513"/>
                  <a:gd name="connsiteY53" fmla="*/ 357744 h 806450"/>
                  <a:gd name="connsiteX54" fmla="*/ 433073 w 1179513"/>
                  <a:gd name="connsiteY54" fmla="*/ 374889 h 806450"/>
                  <a:gd name="connsiteX55" fmla="*/ 447374 w 1179513"/>
                  <a:gd name="connsiteY55" fmla="*/ 384176 h 806450"/>
                  <a:gd name="connsiteX56" fmla="*/ 673343 w 1179513"/>
                  <a:gd name="connsiteY56" fmla="*/ 384176 h 806450"/>
                  <a:gd name="connsiteX57" fmla="*/ 684784 w 1179513"/>
                  <a:gd name="connsiteY57" fmla="*/ 379175 h 806450"/>
                  <a:gd name="connsiteX58" fmla="*/ 741992 w 1179513"/>
                  <a:gd name="connsiteY58" fmla="*/ 316310 h 806450"/>
                  <a:gd name="connsiteX59" fmla="*/ 741992 w 1179513"/>
                  <a:gd name="connsiteY59" fmla="*/ 294879 h 806450"/>
                  <a:gd name="connsiteX60" fmla="*/ 684784 w 1179513"/>
                  <a:gd name="connsiteY60" fmla="*/ 232014 h 806450"/>
                  <a:gd name="connsiteX61" fmla="*/ 673343 w 1179513"/>
                  <a:gd name="connsiteY61" fmla="*/ 227013 h 806450"/>
                  <a:gd name="connsiteX62" fmla="*/ 447374 w 1179513"/>
                  <a:gd name="connsiteY62" fmla="*/ 227013 h 806450"/>
                  <a:gd name="connsiteX63" fmla="*/ 120456 w 1179513"/>
                  <a:gd name="connsiteY63" fmla="*/ 227013 h 806450"/>
                  <a:gd name="connsiteX64" fmla="*/ 104775 w 1179513"/>
                  <a:gd name="connsiteY64" fmla="*/ 242729 h 806450"/>
                  <a:gd name="connsiteX65" fmla="*/ 104775 w 1179513"/>
                  <a:gd name="connsiteY65" fmla="*/ 368460 h 806450"/>
                  <a:gd name="connsiteX66" fmla="*/ 120456 w 1179513"/>
                  <a:gd name="connsiteY66" fmla="*/ 384176 h 806450"/>
                  <a:gd name="connsiteX67" fmla="*/ 344974 w 1179513"/>
                  <a:gd name="connsiteY67" fmla="*/ 384176 h 806450"/>
                  <a:gd name="connsiteX68" fmla="*/ 356378 w 1179513"/>
                  <a:gd name="connsiteY68" fmla="*/ 379175 h 806450"/>
                  <a:gd name="connsiteX69" fmla="*/ 413398 w 1179513"/>
                  <a:gd name="connsiteY69" fmla="*/ 316310 h 806450"/>
                  <a:gd name="connsiteX70" fmla="*/ 413398 w 1179513"/>
                  <a:gd name="connsiteY70" fmla="*/ 294879 h 806450"/>
                  <a:gd name="connsiteX71" fmla="*/ 356378 w 1179513"/>
                  <a:gd name="connsiteY71" fmla="*/ 232014 h 806450"/>
                  <a:gd name="connsiteX72" fmla="*/ 344974 w 1179513"/>
                  <a:gd name="connsiteY72" fmla="*/ 227013 h 806450"/>
                  <a:gd name="connsiteX73" fmla="*/ 120456 w 1179513"/>
                  <a:gd name="connsiteY73" fmla="*/ 227013 h 806450"/>
                  <a:gd name="connsiteX74" fmla="*/ 0 w 1179513"/>
                  <a:gd name="connsiteY74" fmla="*/ 0 h 806450"/>
                  <a:gd name="connsiteX75" fmla="*/ 1179513 w 1179513"/>
                  <a:gd name="connsiteY75" fmla="*/ 0 h 806450"/>
                  <a:gd name="connsiteX76" fmla="*/ 1179513 w 1179513"/>
                  <a:gd name="connsiteY76" fmla="*/ 806450 h 806450"/>
                  <a:gd name="connsiteX77" fmla="*/ 0 w 1179513"/>
                  <a:gd name="connsiteY77" fmla="*/ 80645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179513" h="806450">
                    <a:moveTo>
                      <a:pt x="776109" y="581025"/>
                    </a:moveTo>
                    <a:cubicBezTo>
                      <a:pt x="767547" y="581025"/>
                      <a:pt x="760412" y="588241"/>
                      <a:pt x="760412" y="596900"/>
                    </a:cubicBezTo>
                    <a:cubicBezTo>
                      <a:pt x="760412" y="605559"/>
                      <a:pt x="767547" y="612775"/>
                      <a:pt x="776109" y="612775"/>
                    </a:cubicBezTo>
                    <a:cubicBezTo>
                      <a:pt x="998716" y="612775"/>
                      <a:pt x="998716" y="612775"/>
                      <a:pt x="998716" y="612775"/>
                    </a:cubicBezTo>
                    <a:cubicBezTo>
                      <a:pt x="1007277" y="612775"/>
                      <a:pt x="1014412" y="605559"/>
                      <a:pt x="1014412" y="596900"/>
                    </a:cubicBezTo>
                    <a:cubicBezTo>
                      <a:pt x="1014412" y="588241"/>
                      <a:pt x="1007277" y="581025"/>
                      <a:pt x="998716" y="581025"/>
                    </a:cubicBezTo>
                    <a:cubicBezTo>
                      <a:pt x="776109" y="581025"/>
                      <a:pt x="776109" y="581025"/>
                      <a:pt x="776109" y="581025"/>
                    </a:cubicBezTo>
                    <a:close/>
                    <a:moveTo>
                      <a:pt x="776059" y="517525"/>
                    </a:moveTo>
                    <a:cubicBezTo>
                      <a:pt x="767525" y="517525"/>
                      <a:pt x="760412" y="523695"/>
                      <a:pt x="760412" y="532607"/>
                    </a:cubicBezTo>
                    <a:cubicBezTo>
                      <a:pt x="760412" y="540833"/>
                      <a:pt x="767525" y="547688"/>
                      <a:pt x="776059" y="547688"/>
                    </a:cubicBezTo>
                    <a:cubicBezTo>
                      <a:pt x="1032103" y="547688"/>
                      <a:pt x="1032103" y="547688"/>
                      <a:pt x="1032103" y="547688"/>
                    </a:cubicBezTo>
                    <a:cubicBezTo>
                      <a:pt x="1040638" y="547688"/>
                      <a:pt x="1047750" y="540833"/>
                      <a:pt x="1047750" y="532607"/>
                    </a:cubicBezTo>
                    <a:cubicBezTo>
                      <a:pt x="1047750" y="523695"/>
                      <a:pt x="1040638" y="517525"/>
                      <a:pt x="1032103" y="517525"/>
                    </a:cubicBezTo>
                    <a:cubicBezTo>
                      <a:pt x="776059" y="517525"/>
                      <a:pt x="776059" y="517525"/>
                      <a:pt x="776059" y="517525"/>
                    </a:cubicBezTo>
                    <a:close/>
                    <a:moveTo>
                      <a:pt x="776059" y="450850"/>
                    </a:moveTo>
                    <a:cubicBezTo>
                      <a:pt x="767525" y="450850"/>
                      <a:pt x="760412" y="458066"/>
                      <a:pt x="760412" y="466725"/>
                    </a:cubicBezTo>
                    <a:cubicBezTo>
                      <a:pt x="760412" y="475384"/>
                      <a:pt x="767525" y="482600"/>
                      <a:pt x="776059" y="482600"/>
                    </a:cubicBezTo>
                    <a:cubicBezTo>
                      <a:pt x="1032103" y="482600"/>
                      <a:pt x="1032103" y="482600"/>
                      <a:pt x="1032103" y="482600"/>
                    </a:cubicBezTo>
                    <a:cubicBezTo>
                      <a:pt x="1040638" y="482600"/>
                      <a:pt x="1047750" y="475384"/>
                      <a:pt x="1047750" y="466725"/>
                    </a:cubicBezTo>
                    <a:cubicBezTo>
                      <a:pt x="1047750" y="458066"/>
                      <a:pt x="1040638" y="450850"/>
                      <a:pt x="1032103" y="450850"/>
                    </a:cubicBezTo>
                    <a:cubicBezTo>
                      <a:pt x="776059" y="450850"/>
                      <a:pt x="776059" y="450850"/>
                      <a:pt x="776059" y="450850"/>
                    </a:cubicBezTo>
                    <a:close/>
                    <a:moveTo>
                      <a:pt x="482600" y="258763"/>
                    </a:moveTo>
                    <a:lnTo>
                      <a:pt x="666510" y="258763"/>
                    </a:lnTo>
                    <a:cubicBezTo>
                      <a:pt x="666510" y="258763"/>
                      <a:pt x="666510" y="258763"/>
                      <a:pt x="709613" y="306388"/>
                    </a:cubicBezTo>
                    <a:cubicBezTo>
                      <a:pt x="709613" y="306388"/>
                      <a:pt x="709613" y="306388"/>
                      <a:pt x="666510" y="354013"/>
                    </a:cubicBezTo>
                    <a:cubicBezTo>
                      <a:pt x="666510" y="354013"/>
                      <a:pt x="666510" y="354013"/>
                      <a:pt x="482600" y="354013"/>
                    </a:cubicBezTo>
                    <a:cubicBezTo>
                      <a:pt x="482600" y="354013"/>
                      <a:pt x="482600" y="354013"/>
                      <a:pt x="515646" y="317212"/>
                    </a:cubicBezTo>
                    <a:cubicBezTo>
                      <a:pt x="521394" y="310718"/>
                      <a:pt x="521394" y="301337"/>
                      <a:pt x="515646" y="295564"/>
                    </a:cubicBezTo>
                    <a:cubicBezTo>
                      <a:pt x="515646" y="295564"/>
                      <a:pt x="515646" y="295564"/>
                      <a:pt x="482600" y="258763"/>
                    </a:cubicBezTo>
                    <a:close/>
                    <a:moveTo>
                      <a:pt x="134937" y="258763"/>
                    </a:moveTo>
                    <a:lnTo>
                      <a:pt x="338082" y="258763"/>
                    </a:lnTo>
                    <a:cubicBezTo>
                      <a:pt x="381000" y="306388"/>
                      <a:pt x="381000" y="306388"/>
                      <a:pt x="381000" y="306388"/>
                    </a:cubicBezTo>
                    <a:cubicBezTo>
                      <a:pt x="338082" y="354013"/>
                      <a:pt x="338082" y="354013"/>
                      <a:pt x="338082" y="354013"/>
                    </a:cubicBezTo>
                    <a:cubicBezTo>
                      <a:pt x="134937" y="354013"/>
                      <a:pt x="134937" y="354013"/>
                      <a:pt x="134937" y="354013"/>
                    </a:cubicBezTo>
                    <a:cubicBezTo>
                      <a:pt x="134937" y="258763"/>
                      <a:pt x="134937" y="258763"/>
                      <a:pt x="134937" y="258763"/>
                    </a:cubicBezTo>
                    <a:close/>
                    <a:moveTo>
                      <a:pt x="775940" y="227013"/>
                    </a:moveTo>
                    <a:cubicBezTo>
                      <a:pt x="769522" y="227013"/>
                      <a:pt x="763817" y="230585"/>
                      <a:pt x="761678" y="236300"/>
                    </a:cubicBezTo>
                    <a:cubicBezTo>
                      <a:pt x="758825" y="242015"/>
                      <a:pt x="760251" y="248444"/>
                      <a:pt x="764530" y="253445"/>
                    </a:cubicBezTo>
                    <a:cubicBezTo>
                      <a:pt x="811596" y="305595"/>
                      <a:pt x="811596" y="305595"/>
                      <a:pt x="811596" y="305595"/>
                    </a:cubicBezTo>
                    <a:cubicBezTo>
                      <a:pt x="764530" y="357744"/>
                      <a:pt x="764530" y="357744"/>
                      <a:pt x="764530" y="357744"/>
                    </a:cubicBezTo>
                    <a:cubicBezTo>
                      <a:pt x="760251" y="362745"/>
                      <a:pt x="758825" y="369174"/>
                      <a:pt x="761678" y="374889"/>
                    </a:cubicBezTo>
                    <a:cubicBezTo>
                      <a:pt x="763817" y="380604"/>
                      <a:pt x="769522" y="384176"/>
                      <a:pt x="775940" y="384176"/>
                    </a:cubicBezTo>
                    <a:cubicBezTo>
                      <a:pt x="1000574" y="384176"/>
                      <a:pt x="1000574" y="384176"/>
                      <a:pt x="1000574" y="384176"/>
                    </a:cubicBezTo>
                    <a:cubicBezTo>
                      <a:pt x="1004852" y="384176"/>
                      <a:pt x="1009131" y="382033"/>
                      <a:pt x="1011984" y="379175"/>
                    </a:cubicBezTo>
                    <a:cubicBezTo>
                      <a:pt x="1069033" y="316310"/>
                      <a:pt x="1069033" y="316310"/>
                      <a:pt x="1069033" y="316310"/>
                    </a:cubicBezTo>
                    <a:cubicBezTo>
                      <a:pt x="1074738" y="309881"/>
                      <a:pt x="1074738" y="300594"/>
                      <a:pt x="1069033" y="294879"/>
                    </a:cubicBezTo>
                    <a:cubicBezTo>
                      <a:pt x="1011984" y="232014"/>
                      <a:pt x="1011984" y="232014"/>
                      <a:pt x="1011984" y="232014"/>
                    </a:cubicBezTo>
                    <a:cubicBezTo>
                      <a:pt x="1009131" y="229156"/>
                      <a:pt x="1004852" y="227013"/>
                      <a:pt x="1000574" y="227013"/>
                    </a:cubicBezTo>
                    <a:cubicBezTo>
                      <a:pt x="775940" y="227013"/>
                      <a:pt x="775940" y="227013"/>
                      <a:pt x="775940" y="227013"/>
                    </a:cubicBezTo>
                    <a:close/>
                    <a:moveTo>
                      <a:pt x="447374" y="227013"/>
                    </a:moveTo>
                    <a:cubicBezTo>
                      <a:pt x="440939" y="227013"/>
                      <a:pt x="435218" y="230585"/>
                      <a:pt x="433073" y="236300"/>
                    </a:cubicBezTo>
                    <a:cubicBezTo>
                      <a:pt x="430212" y="242015"/>
                      <a:pt x="431642" y="248444"/>
                      <a:pt x="435933" y="253445"/>
                    </a:cubicBezTo>
                    <a:cubicBezTo>
                      <a:pt x="483129" y="305595"/>
                      <a:pt x="483129" y="305595"/>
                      <a:pt x="483129" y="305595"/>
                    </a:cubicBezTo>
                    <a:cubicBezTo>
                      <a:pt x="435933" y="357744"/>
                      <a:pt x="435933" y="357744"/>
                      <a:pt x="435933" y="357744"/>
                    </a:cubicBezTo>
                    <a:cubicBezTo>
                      <a:pt x="431642" y="362745"/>
                      <a:pt x="430212" y="369174"/>
                      <a:pt x="433073" y="374889"/>
                    </a:cubicBezTo>
                    <a:cubicBezTo>
                      <a:pt x="435218" y="380604"/>
                      <a:pt x="440939" y="384176"/>
                      <a:pt x="447374" y="384176"/>
                    </a:cubicBezTo>
                    <a:cubicBezTo>
                      <a:pt x="673343" y="384176"/>
                      <a:pt x="673343" y="384176"/>
                      <a:pt x="673343" y="384176"/>
                    </a:cubicBezTo>
                    <a:cubicBezTo>
                      <a:pt x="677633" y="384176"/>
                      <a:pt x="681924" y="382033"/>
                      <a:pt x="684784" y="379175"/>
                    </a:cubicBezTo>
                    <a:cubicBezTo>
                      <a:pt x="741992" y="316310"/>
                      <a:pt x="741992" y="316310"/>
                      <a:pt x="741992" y="316310"/>
                    </a:cubicBezTo>
                    <a:cubicBezTo>
                      <a:pt x="747712" y="309881"/>
                      <a:pt x="747712" y="300594"/>
                      <a:pt x="741992" y="294879"/>
                    </a:cubicBezTo>
                    <a:cubicBezTo>
                      <a:pt x="684784" y="232014"/>
                      <a:pt x="684784" y="232014"/>
                      <a:pt x="684784" y="232014"/>
                    </a:cubicBezTo>
                    <a:cubicBezTo>
                      <a:pt x="681924" y="229156"/>
                      <a:pt x="677633" y="227013"/>
                      <a:pt x="673343" y="227013"/>
                    </a:cubicBezTo>
                    <a:cubicBezTo>
                      <a:pt x="447374" y="227013"/>
                      <a:pt x="447374" y="227013"/>
                      <a:pt x="447374" y="227013"/>
                    </a:cubicBezTo>
                    <a:close/>
                    <a:moveTo>
                      <a:pt x="120456" y="227013"/>
                    </a:moveTo>
                    <a:cubicBezTo>
                      <a:pt x="111903" y="227013"/>
                      <a:pt x="104775" y="234157"/>
                      <a:pt x="104775" y="242729"/>
                    </a:cubicBezTo>
                    <a:cubicBezTo>
                      <a:pt x="104775" y="368460"/>
                      <a:pt x="104775" y="368460"/>
                      <a:pt x="104775" y="368460"/>
                    </a:cubicBezTo>
                    <a:cubicBezTo>
                      <a:pt x="104775" y="377032"/>
                      <a:pt x="111903" y="384176"/>
                      <a:pt x="120456" y="384176"/>
                    </a:cubicBezTo>
                    <a:cubicBezTo>
                      <a:pt x="344974" y="384176"/>
                      <a:pt x="344974" y="384176"/>
                      <a:pt x="344974" y="384176"/>
                    </a:cubicBezTo>
                    <a:cubicBezTo>
                      <a:pt x="349250" y="384176"/>
                      <a:pt x="353527" y="382033"/>
                      <a:pt x="356378" y="379175"/>
                    </a:cubicBezTo>
                    <a:cubicBezTo>
                      <a:pt x="413398" y="316310"/>
                      <a:pt x="413398" y="316310"/>
                      <a:pt x="413398" y="316310"/>
                    </a:cubicBezTo>
                    <a:cubicBezTo>
                      <a:pt x="419100" y="309881"/>
                      <a:pt x="419100" y="300594"/>
                      <a:pt x="413398" y="294879"/>
                    </a:cubicBezTo>
                    <a:cubicBezTo>
                      <a:pt x="356378" y="232014"/>
                      <a:pt x="356378" y="232014"/>
                      <a:pt x="356378" y="232014"/>
                    </a:cubicBezTo>
                    <a:cubicBezTo>
                      <a:pt x="353527" y="229156"/>
                      <a:pt x="349250" y="227013"/>
                      <a:pt x="344974" y="227013"/>
                    </a:cubicBezTo>
                    <a:cubicBezTo>
                      <a:pt x="120456" y="227013"/>
                      <a:pt x="120456" y="227013"/>
                      <a:pt x="120456" y="227013"/>
                    </a:cubicBezTo>
                    <a:close/>
                    <a:moveTo>
                      <a:pt x="0" y="0"/>
                    </a:moveTo>
                    <a:lnTo>
                      <a:pt x="1179513" y="0"/>
                    </a:lnTo>
                    <a:lnTo>
                      <a:pt x="1179513" y="806450"/>
                    </a:lnTo>
                    <a:lnTo>
                      <a:pt x="0" y="806450"/>
                    </a:ln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4" name="Group 23">
            <a:extLst>
              <a:ext uri="{FF2B5EF4-FFF2-40B4-BE49-F238E27FC236}">
                <a16:creationId xmlns:a16="http://schemas.microsoft.com/office/drawing/2014/main" id="{1811B4B7-F63D-4832-BB37-C7CD03D21359}"/>
              </a:ext>
            </a:extLst>
          </p:cNvPr>
          <p:cNvGrpSpPr/>
          <p:nvPr/>
        </p:nvGrpSpPr>
        <p:grpSpPr>
          <a:xfrm>
            <a:off x="5904262" y="2263052"/>
            <a:ext cx="306171" cy="4079081"/>
            <a:chOff x="5942914" y="2081213"/>
            <a:chExt cx="306171" cy="4079081"/>
          </a:xfrm>
        </p:grpSpPr>
        <p:cxnSp>
          <p:nvCxnSpPr>
            <p:cNvPr id="25" name="Straight Connector 24">
              <a:extLst>
                <a:ext uri="{FF2B5EF4-FFF2-40B4-BE49-F238E27FC236}">
                  <a16:creationId xmlns:a16="http://schemas.microsoft.com/office/drawing/2014/main" id="{3F498EED-7DAD-457F-B7CD-8A5FFF2243A1}"/>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18BD5CDC-0F23-4989-861C-7F2F767C44EB}"/>
                </a:ext>
              </a:extLst>
            </p:cNvPr>
            <p:cNvGrpSpPr/>
            <p:nvPr/>
          </p:nvGrpSpPr>
          <p:grpSpPr>
            <a:xfrm>
              <a:off x="5942914" y="3967299"/>
              <a:ext cx="306171" cy="306910"/>
              <a:chOff x="5937564" y="3833745"/>
              <a:chExt cx="306171" cy="306910"/>
            </a:xfrm>
          </p:grpSpPr>
          <p:sp>
            <p:nvSpPr>
              <p:cNvPr id="31" name="Freeform 94">
                <a:extLst>
                  <a:ext uri="{FF2B5EF4-FFF2-40B4-BE49-F238E27FC236}">
                    <a16:creationId xmlns:a16="http://schemas.microsoft.com/office/drawing/2014/main" id="{4A9FE8F3-DEF7-4430-958C-ECB238F1ECC5}"/>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2" name="Freeform 95">
                <a:extLst>
                  <a:ext uri="{FF2B5EF4-FFF2-40B4-BE49-F238E27FC236}">
                    <a16:creationId xmlns:a16="http://schemas.microsoft.com/office/drawing/2014/main" id="{158DD1C9-66FF-4E55-9D9E-8C74109737C8}"/>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extLst>
      <p:ext uri="{BB962C8B-B14F-4D97-AF65-F5344CB8AC3E}">
        <p14:creationId xmlns:p14="http://schemas.microsoft.com/office/powerpoint/2010/main" val="3470257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766"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200" cy="470898"/>
          </a:xfrm>
        </p:spPr>
        <p:txBody>
          <a:bodyPr/>
          <a:lstStyle/>
          <a:p>
            <a:r>
              <a:rPr lang="en-US" dirty="0"/>
              <a:t>2 years of transaction data provided</a:t>
            </a:r>
          </a:p>
        </p:txBody>
      </p:sp>
      <p:sp>
        <p:nvSpPr>
          <p:cNvPr id="11" name="ee4pContent1"/>
          <p:cNvSpPr txBox="1"/>
          <p:nvPr/>
        </p:nvSpPr>
        <p:spPr>
          <a:xfrm>
            <a:off x="629400" y="3931705"/>
            <a:ext cx="4995640" cy="113431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800" dirty="0">
                <a:solidFill>
                  <a:schemeClr val="tx1">
                    <a:lumMod val="100000"/>
                  </a:schemeClr>
                </a:solidFill>
              </a:rPr>
              <a:t>Transaction data</a:t>
            </a:r>
          </a:p>
          <a:p>
            <a:pPr lvl="1">
              <a:buClr>
                <a:schemeClr val="tx2">
                  <a:lumMod val="100000"/>
                </a:schemeClr>
              </a:buClr>
              <a:buSzPct val="100000"/>
            </a:pPr>
            <a:endParaRPr lang="en-US" sz="1800" dirty="0">
              <a:solidFill>
                <a:schemeClr val="tx1">
                  <a:lumMod val="100000"/>
                </a:schemeClr>
              </a:solidFill>
            </a:endParaRPr>
          </a:p>
          <a:p>
            <a:pPr lvl="1">
              <a:buClr>
                <a:schemeClr val="tx2">
                  <a:lumMod val="100000"/>
                </a:schemeClr>
              </a:buClr>
              <a:buSzPct val="100000"/>
            </a:pPr>
            <a:r>
              <a:rPr lang="en-US" sz="1800" dirty="0">
                <a:solidFill>
                  <a:schemeClr val="tx1">
                    <a:lumMod val="100000"/>
                  </a:schemeClr>
                </a:solidFill>
              </a:rPr>
              <a:t>2 years of history</a:t>
            </a:r>
          </a:p>
          <a:p>
            <a:pPr lvl="1">
              <a:buClr>
                <a:schemeClr val="tx2">
                  <a:lumMod val="100000"/>
                </a:schemeClr>
              </a:buClr>
              <a:buSzPct val="100000"/>
            </a:pPr>
            <a:endParaRPr lang="en-US" sz="1800" dirty="0">
              <a:solidFill>
                <a:schemeClr val="tx1">
                  <a:lumMod val="100000"/>
                </a:schemeClr>
              </a:solidFill>
            </a:endParaRPr>
          </a:p>
          <a:p>
            <a:pPr lvl="1">
              <a:buClr>
                <a:schemeClr val="tx2">
                  <a:lumMod val="100000"/>
                </a:schemeClr>
              </a:buClr>
              <a:buSzPct val="100000"/>
            </a:pPr>
            <a:r>
              <a:rPr lang="en-US" sz="1800" dirty="0">
                <a:solidFill>
                  <a:schemeClr val="tx1">
                    <a:lumMod val="100000"/>
                  </a:schemeClr>
                </a:solidFill>
              </a:rPr>
              <a:t>Covers only a subset of stores and clients of the company</a:t>
            </a:r>
          </a:p>
        </p:txBody>
      </p:sp>
      <p:sp>
        <p:nvSpPr>
          <p:cNvPr id="12" name="ee4pContent2"/>
          <p:cNvSpPr txBox="1"/>
          <p:nvPr/>
        </p:nvSpPr>
        <p:spPr>
          <a:xfrm>
            <a:off x="6466976" y="3931705"/>
            <a:ext cx="5624440" cy="232279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800" dirty="0" err="1">
                <a:solidFill>
                  <a:schemeClr val="tx1">
                    <a:lumMod val="100000"/>
                  </a:schemeClr>
                </a:solidFill>
              </a:rPr>
              <a:t>date_order</a:t>
            </a:r>
            <a:r>
              <a:rPr lang="en-US" sz="1800" dirty="0">
                <a:solidFill>
                  <a:schemeClr val="tx1">
                    <a:lumMod val="100000"/>
                  </a:schemeClr>
                </a:solidFill>
              </a:rPr>
              <a:t>: date on which the order happened</a:t>
            </a:r>
          </a:p>
          <a:p>
            <a:pPr lvl="1">
              <a:buClr>
                <a:schemeClr val="tx2">
                  <a:lumMod val="100000"/>
                </a:schemeClr>
              </a:buClr>
              <a:buSzPct val="100000"/>
            </a:pPr>
            <a:r>
              <a:rPr lang="en-US" sz="1800" dirty="0" err="1">
                <a:solidFill>
                  <a:schemeClr val="tx1">
                    <a:lumMod val="100000"/>
                  </a:schemeClr>
                </a:solidFill>
              </a:rPr>
              <a:t>date_invoice</a:t>
            </a:r>
            <a:r>
              <a:rPr lang="en-US" sz="1800" dirty="0">
                <a:solidFill>
                  <a:schemeClr val="tx1">
                    <a:lumMod val="100000"/>
                  </a:schemeClr>
                </a:solidFill>
              </a:rPr>
              <a:t>: date of the invoice</a:t>
            </a:r>
          </a:p>
          <a:p>
            <a:pPr lvl="1">
              <a:buClr>
                <a:schemeClr val="tx2">
                  <a:lumMod val="100000"/>
                </a:schemeClr>
              </a:buClr>
              <a:buSzPct val="100000"/>
            </a:pPr>
            <a:r>
              <a:rPr lang="en-US" sz="1800" dirty="0" err="1">
                <a:solidFill>
                  <a:schemeClr val="tx1">
                    <a:lumMod val="100000"/>
                  </a:schemeClr>
                </a:solidFill>
              </a:rPr>
              <a:t>product_id</a:t>
            </a:r>
            <a:r>
              <a:rPr lang="en-US" sz="1800" dirty="0">
                <a:solidFill>
                  <a:schemeClr val="tx1">
                    <a:lumMod val="100000"/>
                  </a:schemeClr>
                </a:solidFill>
              </a:rPr>
              <a:t>: unique product ID key</a:t>
            </a:r>
          </a:p>
          <a:p>
            <a:pPr lvl="1">
              <a:buClr>
                <a:schemeClr val="tx2">
                  <a:lumMod val="100000"/>
                </a:schemeClr>
              </a:buClr>
              <a:buSzPct val="100000"/>
            </a:pPr>
            <a:r>
              <a:rPr lang="en-US" sz="1800" dirty="0" err="1">
                <a:solidFill>
                  <a:schemeClr val="tx1">
                    <a:lumMod val="100000"/>
                  </a:schemeClr>
                </a:solidFill>
              </a:rPr>
              <a:t>client_id</a:t>
            </a:r>
            <a:r>
              <a:rPr lang="en-US" sz="1800" dirty="0">
                <a:solidFill>
                  <a:schemeClr val="tx1">
                    <a:lumMod val="100000"/>
                  </a:schemeClr>
                </a:solidFill>
              </a:rPr>
              <a:t>: unique client ID key</a:t>
            </a:r>
          </a:p>
          <a:p>
            <a:pPr lvl="1">
              <a:buClr>
                <a:schemeClr val="tx2">
                  <a:lumMod val="100000"/>
                </a:schemeClr>
              </a:buClr>
              <a:buSzPct val="100000"/>
            </a:pPr>
            <a:r>
              <a:rPr lang="en-US" sz="1800" dirty="0" err="1">
                <a:solidFill>
                  <a:schemeClr val="tx1">
                    <a:lumMod val="100000"/>
                  </a:schemeClr>
                </a:solidFill>
              </a:rPr>
              <a:t>sales_net</a:t>
            </a:r>
            <a:r>
              <a:rPr lang="en-US" sz="1800" dirty="0">
                <a:solidFill>
                  <a:schemeClr val="tx1">
                    <a:lumMod val="100000"/>
                  </a:schemeClr>
                </a:solidFill>
              </a:rPr>
              <a:t>: net amount purchased in currency</a:t>
            </a:r>
          </a:p>
          <a:p>
            <a:pPr lvl="1">
              <a:buClr>
                <a:schemeClr val="tx2">
                  <a:lumMod val="100000"/>
                </a:schemeClr>
              </a:buClr>
              <a:buSzPct val="100000"/>
            </a:pPr>
            <a:r>
              <a:rPr lang="en-US" sz="1800" dirty="0">
                <a:solidFill>
                  <a:schemeClr val="tx1">
                    <a:lumMod val="100000"/>
                  </a:schemeClr>
                </a:solidFill>
              </a:rPr>
              <a:t>quantity: quantity of items purchase</a:t>
            </a:r>
          </a:p>
          <a:p>
            <a:pPr lvl="1">
              <a:buClr>
                <a:schemeClr val="tx2">
                  <a:lumMod val="100000"/>
                </a:schemeClr>
              </a:buClr>
              <a:buSzPct val="100000"/>
            </a:pPr>
            <a:r>
              <a:rPr lang="en-US" sz="1800" dirty="0" err="1">
                <a:solidFill>
                  <a:schemeClr val="tx1">
                    <a:lumMod val="100000"/>
                  </a:schemeClr>
                </a:solidFill>
              </a:rPr>
              <a:t>order_channel</a:t>
            </a:r>
            <a:r>
              <a:rPr lang="en-US" sz="1800" dirty="0">
                <a:solidFill>
                  <a:schemeClr val="tx1">
                    <a:lumMod val="100000"/>
                  </a:schemeClr>
                </a:solidFill>
              </a:rPr>
              <a:t>: transaction channel</a:t>
            </a:r>
          </a:p>
          <a:p>
            <a:pPr lvl="1">
              <a:buClr>
                <a:schemeClr val="tx2">
                  <a:lumMod val="100000"/>
                </a:schemeClr>
              </a:buClr>
              <a:buSzPct val="100000"/>
            </a:pPr>
            <a:r>
              <a:rPr lang="en-US" sz="1800" dirty="0" err="1">
                <a:solidFill>
                  <a:schemeClr val="tx1">
                    <a:lumMod val="100000"/>
                  </a:schemeClr>
                </a:solidFill>
              </a:rPr>
              <a:t>branch_id</a:t>
            </a:r>
            <a:r>
              <a:rPr lang="en-US" sz="1800" dirty="0">
                <a:solidFill>
                  <a:schemeClr val="tx1">
                    <a:lumMod val="100000"/>
                  </a:schemeClr>
                </a:solidFill>
              </a:rPr>
              <a:t>: unique store ID key</a:t>
            </a:r>
            <a:endParaRPr lang="en-US" sz="1800" dirty="0">
              <a:solidFill>
                <a:schemeClr val="tx1">
                  <a:lumMod val="100000"/>
                </a:schemeClr>
              </a:solidFill>
              <a:effectLst/>
            </a:endParaRPr>
          </a:p>
        </p:txBody>
      </p:sp>
      <p:grpSp>
        <p:nvGrpSpPr>
          <p:cNvPr id="6" name="Group 5"/>
          <p:cNvGrpSpPr>
            <a:grpSpLocks noChangeAspect="1"/>
          </p:cNvGrpSpPr>
          <p:nvPr/>
        </p:nvGrpSpPr>
        <p:grpSpPr>
          <a:xfrm>
            <a:off x="6466976" y="1714413"/>
            <a:ext cx="1118080" cy="1117003"/>
            <a:chOff x="5272088" y="2514600"/>
            <a:chExt cx="1647825" cy="1646238"/>
          </a:xfrm>
        </p:grpSpPr>
        <p:sp>
          <p:nvSpPr>
            <p:cNvPr id="7" name="AutoShape 3"/>
            <p:cNvSpPr>
              <a:spLocks noChangeAspect="1" noChangeArrowheads="1" noTextEdit="1"/>
            </p:cNvSpPr>
            <p:nvPr/>
          </p:nvSpPr>
          <p:spPr bwMode="auto">
            <a:xfrm>
              <a:off x="5272088" y="2514600"/>
              <a:ext cx="1647825"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 name="Group 7"/>
            <p:cNvGrpSpPr/>
            <p:nvPr/>
          </p:nvGrpSpPr>
          <p:grpSpPr>
            <a:xfrm>
              <a:off x="5441951" y="2841625"/>
              <a:ext cx="1308100" cy="995363"/>
              <a:chOff x="5441951" y="2841625"/>
              <a:chExt cx="1308100" cy="995363"/>
            </a:xfrm>
          </p:grpSpPr>
          <p:sp>
            <p:nvSpPr>
              <p:cNvPr id="9" name="Freeform 8"/>
              <p:cNvSpPr>
                <a:spLocks noEditPoints="1"/>
              </p:cNvSpPr>
              <p:nvPr/>
            </p:nvSpPr>
            <p:spPr bwMode="auto">
              <a:xfrm>
                <a:off x="5441951" y="2841625"/>
                <a:ext cx="1308100" cy="995363"/>
              </a:xfrm>
              <a:custGeom>
                <a:avLst/>
                <a:gdLst>
                  <a:gd name="T0" fmla="*/ 23 w 1829"/>
                  <a:gd name="T1" fmla="*/ 0 h 1393"/>
                  <a:gd name="T2" fmla="*/ 1 w 1829"/>
                  <a:gd name="T3" fmla="*/ 127 h 1393"/>
                  <a:gd name="T4" fmla="*/ 0 w 1829"/>
                  <a:gd name="T5" fmla="*/ 1349 h 1393"/>
                  <a:gd name="T6" fmla="*/ 587 w 1829"/>
                  <a:gd name="T7" fmla="*/ 1393 h 1393"/>
                  <a:gd name="T8" fmla="*/ 631 w 1829"/>
                  <a:gd name="T9" fmla="*/ 1393 h 1393"/>
                  <a:gd name="T10" fmla="*/ 1197 w 1829"/>
                  <a:gd name="T11" fmla="*/ 1393 h 1393"/>
                  <a:gd name="T12" fmla="*/ 1241 w 1829"/>
                  <a:gd name="T13" fmla="*/ 1393 h 1393"/>
                  <a:gd name="T14" fmla="*/ 1785 w 1829"/>
                  <a:gd name="T15" fmla="*/ 1393 h 1393"/>
                  <a:gd name="T16" fmla="*/ 1828 w 1829"/>
                  <a:gd name="T17" fmla="*/ 365 h 1393"/>
                  <a:gd name="T18" fmla="*/ 1829 w 1829"/>
                  <a:gd name="T19" fmla="*/ 22 h 1393"/>
                  <a:gd name="T20" fmla="*/ 1785 w 1829"/>
                  <a:gd name="T21" fmla="*/ 603 h 1393"/>
                  <a:gd name="T22" fmla="*/ 1241 w 1829"/>
                  <a:gd name="T23" fmla="*/ 381 h 1393"/>
                  <a:gd name="T24" fmla="*/ 1785 w 1829"/>
                  <a:gd name="T25" fmla="*/ 603 h 1393"/>
                  <a:gd name="T26" fmla="*/ 1241 w 1829"/>
                  <a:gd name="T27" fmla="*/ 844 h 1393"/>
                  <a:gd name="T28" fmla="*/ 1785 w 1829"/>
                  <a:gd name="T29" fmla="*/ 647 h 1393"/>
                  <a:gd name="T30" fmla="*/ 1785 w 1829"/>
                  <a:gd name="T31" fmla="*/ 1086 h 1393"/>
                  <a:gd name="T32" fmla="*/ 1241 w 1829"/>
                  <a:gd name="T33" fmla="*/ 888 h 1393"/>
                  <a:gd name="T34" fmla="*/ 1785 w 1829"/>
                  <a:gd name="T35" fmla="*/ 1086 h 1393"/>
                  <a:gd name="T36" fmla="*/ 631 w 1829"/>
                  <a:gd name="T37" fmla="*/ 603 h 1393"/>
                  <a:gd name="T38" fmla="*/ 1197 w 1829"/>
                  <a:gd name="T39" fmla="*/ 381 h 1393"/>
                  <a:gd name="T40" fmla="*/ 1197 w 1829"/>
                  <a:gd name="T41" fmla="*/ 844 h 1393"/>
                  <a:gd name="T42" fmla="*/ 631 w 1829"/>
                  <a:gd name="T43" fmla="*/ 647 h 1393"/>
                  <a:gd name="T44" fmla="*/ 1197 w 1829"/>
                  <a:gd name="T45" fmla="*/ 844 h 1393"/>
                  <a:gd name="T46" fmla="*/ 587 w 1829"/>
                  <a:gd name="T47" fmla="*/ 647 h 1393"/>
                  <a:gd name="T48" fmla="*/ 43 w 1829"/>
                  <a:gd name="T49" fmla="*/ 844 h 1393"/>
                  <a:gd name="T50" fmla="*/ 587 w 1829"/>
                  <a:gd name="T51" fmla="*/ 603 h 1393"/>
                  <a:gd name="T52" fmla="*/ 43 w 1829"/>
                  <a:gd name="T53" fmla="*/ 381 h 1393"/>
                  <a:gd name="T54" fmla="*/ 587 w 1829"/>
                  <a:gd name="T55" fmla="*/ 603 h 1393"/>
                  <a:gd name="T56" fmla="*/ 587 w 1829"/>
                  <a:gd name="T57" fmla="*/ 888 h 1393"/>
                  <a:gd name="T58" fmla="*/ 43 w 1829"/>
                  <a:gd name="T59" fmla="*/ 1086 h 1393"/>
                  <a:gd name="T60" fmla="*/ 631 w 1829"/>
                  <a:gd name="T61" fmla="*/ 888 h 1393"/>
                  <a:gd name="T62" fmla="*/ 1197 w 1829"/>
                  <a:gd name="T63" fmla="*/ 1086 h 1393"/>
                  <a:gd name="T64" fmla="*/ 631 w 1829"/>
                  <a:gd name="T65" fmla="*/ 888 h 1393"/>
                  <a:gd name="T66" fmla="*/ 587 w 1829"/>
                  <a:gd name="T67" fmla="*/ 44 h 1393"/>
                  <a:gd name="T68" fmla="*/ 631 w 1829"/>
                  <a:gd name="T69" fmla="*/ 44 h 1393"/>
                  <a:gd name="T70" fmla="*/ 1197 w 1829"/>
                  <a:gd name="T71" fmla="*/ 44 h 1393"/>
                  <a:gd name="T72" fmla="*/ 1241 w 1829"/>
                  <a:gd name="T73" fmla="*/ 44 h 1393"/>
                  <a:gd name="T74" fmla="*/ 1785 w 1829"/>
                  <a:gd name="T75" fmla="*/ 44 h 1393"/>
                  <a:gd name="T76" fmla="*/ 1241 w 1829"/>
                  <a:gd name="T77" fmla="*/ 337 h 1393"/>
                  <a:gd name="T78" fmla="*/ 631 w 1829"/>
                  <a:gd name="T79" fmla="*/ 337 h 1393"/>
                  <a:gd name="T80" fmla="*/ 45 w 1829"/>
                  <a:gd name="T81" fmla="*/ 337 h 1393"/>
                  <a:gd name="T82" fmla="*/ 43 w 1829"/>
                  <a:gd name="T83" fmla="*/ 1349 h 1393"/>
                  <a:gd name="T84" fmla="*/ 587 w 1829"/>
                  <a:gd name="T85" fmla="*/ 1130 h 1393"/>
                  <a:gd name="T86" fmla="*/ 43 w 1829"/>
                  <a:gd name="T87" fmla="*/ 1349 h 1393"/>
                  <a:gd name="T88" fmla="*/ 631 w 1829"/>
                  <a:gd name="T89" fmla="*/ 1130 h 1393"/>
                  <a:gd name="T90" fmla="*/ 1197 w 1829"/>
                  <a:gd name="T91" fmla="*/ 1349 h 1393"/>
                  <a:gd name="T92" fmla="*/ 1785 w 1829"/>
                  <a:gd name="T93" fmla="*/ 1349 h 1393"/>
                  <a:gd name="T94" fmla="*/ 1241 w 1829"/>
                  <a:gd name="T95" fmla="*/ 1130 h 1393"/>
                  <a:gd name="T96" fmla="*/ 1785 w 1829"/>
                  <a:gd name="T97" fmla="*/ 1349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29" h="1393">
                    <a:moveTo>
                      <a:pt x="1807" y="0"/>
                    </a:moveTo>
                    <a:cubicBezTo>
                      <a:pt x="23" y="0"/>
                      <a:pt x="23" y="0"/>
                      <a:pt x="23" y="0"/>
                    </a:cubicBezTo>
                    <a:cubicBezTo>
                      <a:pt x="11" y="0"/>
                      <a:pt x="1" y="9"/>
                      <a:pt x="1" y="22"/>
                    </a:cubicBezTo>
                    <a:cubicBezTo>
                      <a:pt x="1" y="127"/>
                      <a:pt x="1" y="127"/>
                      <a:pt x="1" y="127"/>
                    </a:cubicBezTo>
                    <a:cubicBezTo>
                      <a:pt x="0" y="130"/>
                      <a:pt x="0" y="132"/>
                      <a:pt x="0" y="134"/>
                    </a:cubicBezTo>
                    <a:cubicBezTo>
                      <a:pt x="0" y="134"/>
                      <a:pt x="0" y="285"/>
                      <a:pt x="0" y="1349"/>
                    </a:cubicBezTo>
                    <a:cubicBezTo>
                      <a:pt x="0" y="1373"/>
                      <a:pt x="19" y="1393"/>
                      <a:pt x="43" y="1393"/>
                    </a:cubicBezTo>
                    <a:cubicBezTo>
                      <a:pt x="43" y="1393"/>
                      <a:pt x="43" y="1393"/>
                      <a:pt x="587" y="1393"/>
                    </a:cubicBezTo>
                    <a:cubicBezTo>
                      <a:pt x="587" y="1393"/>
                      <a:pt x="587" y="1393"/>
                      <a:pt x="587" y="1393"/>
                    </a:cubicBezTo>
                    <a:cubicBezTo>
                      <a:pt x="631" y="1393"/>
                      <a:pt x="631" y="1393"/>
                      <a:pt x="631" y="1393"/>
                    </a:cubicBezTo>
                    <a:cubicBezTo>
                      <a:pt x="631" y="1393"/>
                      <a:pt x="631" y="1393"/>
                      <a:pt x="631" y="1393"/>
                    </a:cubicBezTo>
                    <a:cubicBezTo>
                      <a:pt x="779" y="1393"/>
                      <a:pt x="965" y="1393"/>
                      <a:pt x="1197" y="1393"/>
                    </a:cubicBezTo>
                    <a:cubicBezTo>
                      <a:pt x="1197" y="1393"/>
                      <a:pt x="1197" y="1393"/>
                      <a:pt x="1197" y="1393"/>
                    </a:cubicBezTo>
                    <a:cubicBezTo>
                      <a:pt x="1241" y="1393"/>
                      <a:pt x="1241" y="1393"/>
                      <a:pt x="1241" y="1393"/>
                    </a:cubicBezTo>
                    <a:cubicBezTo>
                      <a:pt x="1241" y="1393"/>
                      <a:pt x="1241" y="1393"/>
                      <a:pt x="1241" y="1393"/>
                    </a:cubicBezTo>
                    <a:cubicBezTo>
                      <a:pt x="1400" y="1393"/>
                      <a:pt x="1581" y="1393"/>
                      <a:pt x="1785" y="1393"/>
                    </a:cubicBezTo>
                    <a:cubicBezTo>
                      <a:pt x="1809" y="1393"/>
                      <a:pt x="1828" y="1373"/>
                      <a:pt x="1828" y="1349"/>
                    </a:cubicBezTo>
                    <a:cubicBezTo>
                      <a:pt x="1828" y="1349"/>
                      <a:pt x="1828" y="1220"/>
                      <a:pt x="1828" y="365"/>
                    </a:cubicBezTo>
                    <a:cubicBezTo>
                      <a:pt x="1829" y="363"/>
                      <a:pt x="1829" y="361"/>
                      <a:pt x="1829" y="359"/>
                    </a:cubicBezTo>
                    <a:cubicBezTo>
                      <a:pt x="1829" y="22"/>
                      <a:pt x="1829" y="22"/>
                      <a:pt x="1829" y="22"/>
                    </a:cubicBezTo>
                    <a:cubicBezTo>
                      <a:pt x="1829" y="9"/>
                      <a:pt x="1819" y="0"/>
                      <a:pt x="1807" y="0"/>
                    </a:cubicBezTo>
                    <a:close/>
                    <a:moveTo>
                      <a:pt x="1785" y="603"/>
                    </a:moveTo>
                    <a:cubicBezTo>
                      <a:pt x="1241" y="603"/>
                      <a:pt x="1241" y="603"/>
                      <a:pt x="1241" y="603"/>
                    </a:cubicBezTo>
                    <a:cubicBezTo>
                      <a:pt x="1241" y="381"/>
                      <a:pt x="1241" y="381"/>
                      <a:pt x="1241" y="381"/>
                    </a:cubicBezTo>
                    <a:cubicBezTo>
                      <a:pt x="1785" y="381"/>
                      <a:pt x="1785" y="381"/>
                      <a:pt x="1785" y="381"/>
                    </a:cubicBezTo>
                    <a:cubicBezTo>
                      <a:pt x="1785" y="440"/>
                      <a:pt x="1785" y="513"/>
                      <a:pt x="1785" y="603"/>
                    </a:cubicBezTo>
                    <a:close/>
                    <a:moveTo>
                      <a:pt x="1785" y="844"/>
                    </a:moveTo>
                    <a:cubicBezTo>
                      <a:pt x="1241" y="844"/>
                      <a:pt x="1241" y="844"/>
                      <a:pt x="1241" y="844"/>
                    </a:cubicBezTo>
                    <a:cubicBezTo>
                      <a:pt x="1241" y="647"/>
                      <a:pt x="1241" y="647"/>
                      <a:pt x="1241" y="647"/>
                    </a:cubicBezTo>
                    <a:cubicBezTo>
                      <a:pt x="1785" y="647"/>
                      <a:pt x="1785" y="647"/>
                      <a:pt x="1785" y="647"/>
                    </a:cubicBezTo>
                    <a:cubicBezTo>
                      <a:pt x="1785" y="706"/>
                      <a:pt x="1785" y="771"/>
                      <a:pt x="1785" y="844"/>
                    </a:cubicBezTo>
                    <a:close/>
                    <a:moveTo>
                      <a:pt x="1785" y="1086"/>
                    </a:moveTo>
                    <a:cubicBezTo>
                      <a:pt x="1241" y="1086"/>
                      <a:pt x="1241" y="1086"/>
                      <a:pt x="1241" y="1086"/>
                    </a:cubicBezTo>
                    <a:cubicBezTo>
                      <a:pt x="1241" y="888"/>
                      <a:pt x="1241" y="888"/>
                      <a:pt x="1241" y="888"/>
                    </a:cubicBezTo>
                    <a:cubicBezTo>
                      <a:pt x="1785" y="888"/>
                      <a:pt x="1785" y="888"/>
                      <a:pt x="1785" y="888"/>
                    </a:cubicBezTo>
                    <a:cubicBezTo>
                      <a:pt x="1785" y="949"/>
                      <a:pt x="1785" y="1015"/>
                      <a:pt x="1785" y="1086"/>
                    </a:cubicBezTo>
                    <a:close/>
                    <a:moveTo>
                      <a:pt x="1197" y="603"/>
                    </a:moveTo>
                    <a:cubicBezTo>
                      <a:pt x="631" y="603"/>
                      <a:pt x="631" y="603"/>
                      <a:pt x="631" y="603"/>
                    </a:cubicBezTo>
                    <a:cubicBezTo>
                      <a:pt x="631" y="381"/>
                      <a:pt x="631" y="381"/>
                      <a:pt x="631" y="381"/>
                    </a:cubicBezTo>
                    <a:cubicBezTo>
                      <a:pt x="1197" y="381"/>
                      <a:pt x="1197" y="381"/>
                      <a:pt x="1197" y="381"/>
                    </a:cubicBezTo>
                    <a:lnTo>
                      <a:pt x="1197" y="603"/>
                    </a:lnTo>
                    <a:close/>
                    <a:moveTo>
                      <a:pt x="1197" y="844"/>
                    </a:moveTo>
                    <a:cubicBezTo>
                      <a:pt x="631" y="844"/>
                      <a:pt x="631" y="844"/>
                      <a:pt x="631" y="844"/>
                    </a:cubicBezTo>
                    <a:cubicBezTo>
                      <a:pt x="631" y="647"/>
                      <a:pt x="631" y="647"/>
                      <a:pt x="631" y="647"/>
                    </a:cubicBezTo>
                    <a:cubicBezTo>
                      <a:pt x="1197" y="647"/>
                      <a:pt x="1197" y="647"/>
                      <a:pt x="1197" y="647"/>
                    </a:cubicBezTo>
                    <a:lnTo>
                      <a:pt x="1197" y="844"/>
                    </a:lnTo>
                    <a:close/>
                    <a:moveTo>
                      <a:pt x="43" y="647"/>
                    </a:moveTo>
                    <a:cubicBezTo>
                      <a:pt x="587" y="647"/>
                      <a:pt x="587" y="647"/>
                      <a:pt x="587" y="647"/>
                    </a:cubicBezTo>
                    <a:cubicBezTo>
                      <a:pt x="587" y="844"/>
                      <a:pt x="587" y="844"/>
                      <a:pt x="587" y="844"/>
                    </a:cubicBezTo>
                    <a:cubicBezTo>
                      <a:pt x="43" y="844"/>
                      <a:pt x="43" y="844"/>
                      <a:pt x="43" y="844"/>
                    </a:cubicBezTo>
                    <a:cubicBezTo>
                      <a:pt x="43" y="785"/>
                      <a:pt x="43" y="719"/>
                      <a:pt x="43" y="647"/>
                    </a:cubicBezTo>
                    <a:close/>
                    <a:moveTo>
                      <a:pt x="587" y="603"/>
                    </a:moveTo>
                    <a:cubicBezTo>
                      <a:pt x="43" y="603"/>
                      <a:pt x="43" y="603"/>
                      <a:pt x="43" y="603"/>
                    </a:cubicBezTo>
                    <a:cubicBezTo>
                      <a:pt x="43" y="535"/>
                      <a:pt x="43" y="461"/>
                      <a:pt x="43" y="381"/>
                    </a:cubicBezTo>
                    <a:cubicBezTo>
                      <a:pt x="587" y="381"/>
                      <a:pt x="587" y="381"/>
                      <a:pt x="587" y="381"/>
                    </a:cubicBezTo>
                    <a:lnTo>
                      <a:pt x="587" y="603"/>
                    </a:lnTo>
                    <a:close/>
                    <a:moveTo>
                      <a:pt x="43" y="888"/>
                    </a:moveTo>
                    <a:cubicBezTo>
                      <a:pt x="587" y="888"/>
                      <a:pt x="587" y="888"/>
                      <a:pt x="587" y="888"/>
                    </a:cubicBezTo>
                    <a:cubicBezTo>
                      <a:pt x="587" y="1086"/>
                      <a:pt x="587" y="1086"/>
                      <a:pt x="587" y="1086"/>
                    </a:cubicBezTo>
                    <a:cubicBezTo>
                      <a:pt x="43" y="1086"/>
                      <a:pt x="43" y="1086"/>
                      <a:pt x="43" y="1086"/>
                    </a:cubicBezTo>
                    <a:cubicBezTo>
                      <a:pt x="43" y="1031"/>
                      <a:pt x="43" y="966"/>
                      <a:pt x="43" y="888"/>
                    </a:cubicBezTo>
                    <a:close/>
                    <a:moveTo>
                      <a:pt x="631" y="888"/>
                    </a:moveTo>
                    <a:cubicBezTo>
                      <a:pt x="1197" y="888"/>
                      <a:pt x="1197" y="888"/>
                      <a:pt x="1197" y="888"/>
                    </a:cubicBezTo>
                    <a:cubicBezTo>
                      <a:pt x="1197" y="1086"/>
                      <a:pt x="1197" y="1086"/>
                      <a:pt x="1197" y="1086"/>
                    </a:cubicBezTo>
                    <a:cubicBezTo>
                      <a:pt x="631" y="1086"/>
                      <a:pt x="631" y="1086"/>
                      <a:pt x="631" y="1086"/>
                    </a:cubicBezTo>
                    <a:lnTo>
                      <a:pt x="631" y="888"/>
                    </a:lnTo>
                    <a:close/>
                    <a:moveTo>
                      <a:pt x="45" y="44"/>
                    </a:moveTo>
                    <a:cubicBezTo>
                      <a:pt x="587" y="44"/>
                      <a:pt x="587" y="44"/>
                      <a:pt x="587" y="44"/>
                    </a:cubicBezTo>
                    <a:cubicBezTo>
                      <a:pt x="587" y="44"/>
                      <a:pt x="587" y="44"/>
                      <a:pt x="587" y="44"/>
                    </a:cubicBezTo>
                    <a:cubicBezTo>
                      <a:pt x="631" y="44"/>
                      <a:pt x="631" y="44"/>
                      <a:pt x="631" y="44"/>
                    </a:cubicBezTo>
                    <a:cubicBezTo>
                      <a:pt x="631" y="44"/>
                      <a:pt x="631" y="44"/>
                      <a:pt x="631" y="44"/>
                    </a:cubicBezTo>
                    <a:cubicBezTo>
                      <a:pt x="1197" y="44"/>
                      <a:pt x="1197" y="44"/>
                      <a:pt x="1197" y="44"/>
                    </a:cubicBezTo>
                    <a:cubicBezTo>
                      <a:pt x="1197" y="44"/>
                      <a:pt x="1197" y="44"/>
                      <a:pt x="1197" y="44"/>
                    </a:cubicBezTo>
                    <a:cubicBezTo>
                      <a:pt x="1241" y="44"/>
                      <a:pt x="1241" y="44"/>
                      <a:pt x="1241" y="44"/>
                    </a:cubicBezTo>
                    <a:cubicBezTo>
                      <a:pt x="1241" y="44"/>
                      <a:pt x="1241" y="44"/>
                      <a:pt x="1241" y="44"/>
                    </a:cubicBezTo>
                    <a:cubicBezTo>
                      <a:pt x="1785" y="44"/>
                      <a:pt x="1785" y="44"/>
                      <a:pt x="1785" y="44"/>
                    </a:cubicBezTo>
                    <a:cubicBezTo>
                      <a:pt x="1785" y="337"/>
                      <a:pt x="1785" y="337"/>
                      <a:pt x="1785" y="337"/>
                    </a:cubicBezTo>
                    <a:cubicBezTo>
                      <a:pt x="1241" y="337"/>
                      <a:pt x="1241" y="337"/>
                      <a:pt x="1241" y="337"/>
                    </a:cubicBezTo>
                    <a:cubicBezTo>
                      <a:pt x="1197" y="337"/>
                      <a:pt x="1197" y="337"/>
                      <a:pt x="1197" y="337"/>
                    </a:cubicBezTo>
                    <a:cubicBezTo>
                      <a:pt x="631" y="337"/>
                      <a:pt x="631" y="337"/>
                      <a:pt x="631" y="337"/>
                    </a:cubicBezTo>
                    <a:cubicBezTo>
                      <a:pt x="587" y="337"/>
                      <a:pt x="587" y="337"/>
                      <a:pt x="587" y="337"/>
                    </a:cubicBezTo>
                    <a:cubicBezTo>
                      <a:pt x="45" y="337"/>
                      <a:pt x="45" y="337"/>
                      <a:pt x="45" y="337"/>
                    </a:cubicBezTo>
                    <a:lnTo>
                      <a:pt x="45" y="44"/>
                    </a:lnTo>
                    <a:close/>
                    <a:moveTo>
                      <a:pt x="43" y="1349"/>
                    </a:moveTo>
                    <a:cubicBezTo>
                      <a:pt x="43" y="1349"/>
                      <a:pt x="43" y="1309"/>
                      <a:pt x="43" y="1130"/>
                    </a:cubicBezTo>
                    <a:cubicBezTo>
                      <a:pt x="587" y="1130"/>
                      <a:pt x="587" y="1130"/>
                      <a:pt x="587" y="1130"/>
                    </a:cubicBezTo>
                    <a:cubicBezTo>
                      <a:pt x="587" y="1349"/>
                      <a:pt x="587" y="1349"/>
                      <a:pt x="587" y="1349"/>
                    </a:cubicBezTo>
                    <a:cubicBezTo>
                      <a:pt x="428" y="1349"/>
                      <a:pt x="247" y="1349"/>
                      <a:pt x="43" y="1349"/>
                    </a:cubicBezTo>
                    <a:close/>
                    <a:moveTo>
                      <a:pt x="631" y="1349"/>
                    </a:moveTo>
                    <a:cubicBezTo>
                      <a:pt x="631" y="1130"/>
                      <a:pt x="631" y="1130"/>
                      <a:pt x="631" y="1130"/>
                    </a:cubicBezTo>
                    <a:cubicBezTo>
                      <a:pt x="1197" y="1130"/>
                      <a:pt x="1197" y="1130"/>
                      <a:pt x="1197" y="1130"/>
                    </a:cubicBezTo>
                    <a:cubicBezTo>
                      <a:pt x="1197" y="1349"/>
                      <a:pt x="1197" y="1349"/>
                      <a:pt x="1197" y="1349"/>
                    </a:cubicBezTo>
                    <a:cubicBezTo>
                      <a:pt x="1049" y="1349"/>
                      <a:pt x="863" y="1349"/>
                      <a:pt x="631" y="1349"/>
                    </a:cubicBezTo>
                    <a:close/>
                    <a:moveTo>
                      <a:pt x="1785" y="1349"/>
                    </a:moveTo>
                    <a:cubicBezTo>
                      <a:pt x="1785" y="1349"/>
                      <a:pt x="1785" y="1349"/>
                      <a:pt x="1241" y="1349"/>
                    </a:cubicBezTo>
                    <a:cubicBezTo>
                      <a:pt x="1241" y="1130"/>
                      <a:pt x="1241" y="1130"/>
                      <a:pt x="1241" y="1130"/>
                    </a:cubicBezTo>
                    <a:cubicBezTo>
                      <a:pt x="1785" y="1130"/>
                      <a:pt x="1785" y="1130"/>
                      <a:pt x="1785" y="1130"/>
                    </a:cubicBezTo>
                    <a:cubicBezTo>
                      <a:pt x="1785" y="1198"/>
                      <a:pt x="1785" y="1271"/>
                      <a:pt x="1785" y="1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p:nvSpPr>
            <p:spPr bwMode="auto">
              <a:xfrm>
                <a:off x="5505451" y="2903538"/>
                <a:ext cx="1182687" cy="830262"/>
              </a:xfrm>
              <a:custGeom>
                <a:avLst/>
                <a:gdLst>
                  <a:gd name="connsiteX0" fmla="*/ 906341 w 1182687"/>
                  <a:gd name="connsiteY0" fmla="*/ 798512 h 830262"/>
                  <a:gd name="connsiteX1" fmla="*/ 1138358 w 1182687"/>
                  <a:gd name="connsiteY1" fmla="*/ 798512 h 830262"/>
                  <a:gd name="connsiteX2" fmla="*/ 1154112 w 1182687"/>
                  <a:gd name="connsiteY2" fmla="*/ 814387 h 830262"/>
                  <a:gd name="connsiteX3" fmla="*/ 1138358 w 1182687"/>
                  <a:gd name="connsiteY3" fmla="*/ 830262 h 830262"/>
                  <a:gd name="connsiteX4" fmla="*/ 906341 w 1182687"/>
                  <a:gd name="connsiteY4" fmla="*/ 830262 h 830262"/>
                  <a:gd name="connsiteX5" fmla="*/ 890587 w 1182687"/>
                  <a:gd name="connsiteY5" fmla="*/ 814387 h 830262"/>
                  <a:gd name="connsiteX6" fmla="*/ 906341 w 1182687"/>
                  <a:gd name="connsiteY6" fmla="*/ 798512 h 830262"/>
                  <a:gd name="connsiteX7" fmla="*/ 476035 w 1182687"/>
                  <a:gd name="connsiteY7" fmla="*/ 798512 h 830262"/>
                  <a:gd name="connsiteX8" fmla="*/ 706654 w 1182687"/>
                  <a:gd name="connsiteY8" fmla="*/ 798512 h 830262"/>
                  <a:gd name="connsiteX9" fmla="*/ 722313 w 1182687"/>
                  <a:gd name="connsiteY9" fmla="*/ 814387 h 830262"/>
                  <a:gd name="connsiteX10" fmla="*/ 706654 w 1182687"/>
                  <a:gd name="connsiteY10" fmla="*/ 830262 h 830262"/>
                  <a:gd name="connsiteX11" fmla="*/ 476035 w 1182687"/>
                  <a:gd name="connsiteY11" fmla="*/ 830262 h 830262"/>
                  <a:gd name="connsiteX12" fmla="*/ 460375 w 1182687"/>
                  <a:gd name="connsiteY12" fmla="*/ 814387 h 830262"/>
                  <a:gd name="connsiteX13" fmla="*/ 476035 w 1182687"/>
                  <a:gd name="connsiteY13" fmla="*/ 798512 h 830262"/>
                  <a:gd name="connsiteX14" fmla="*/ 44329 w 1182687"/>
                  <a:gd name="connsiteY14" fmla="*/ 798512 h 830262"/>
                  <a:gd name="connsiteX15" fmla="*/ 276346 w 1182687"/>
                  <a:gd name="connsiteY15" fmla="*/ 798512 h 830262"/>
                  <a:gd name="connsiteX16" fmla="*/ 292100 w 1182687"/>
                  <a:gd name="connsiteY16" fmla="*/ 814387 h 830262"/>
                  <a:gd name="connsiteX17" fmla="*/ 276346 w 1182687"/>
                  <a:gd name="connsiteY17" fmla="*/ 830262 h 830262"/>
                  <a:gd name="connsiteX18" fmla="*/ 44329 w 1182687"/>
                  <a:gd name="connsiteY18" fmla="*/ 830262 h 830262"/>
                  <a:gd name="connsiteX19" fmla="*/ 28575 w 1182687"/>
                  <a:gd name="connsiteY19" fmla="*/ 814387 h 830262"/>
                  <a:gd name="connsiteX20" fmla="*/ 44329 w 1182687"/>
                  <a:gd name="connsiteY20" fmla="*/ 798512 h 830262"/>
                  <a:gd name="connsiteX21" fmla="*/ 906341 w 1182687"/>
                  <a:gd name="connsiteY21" fmla="*/ 627062 h 830262"/>
                  <a:gd name="connsiteX22" fmla="*/ 1138358 w 1182687"/>
                  <a:gd name="connsiteY22" fmla="*/ 627062 h 830262"/>
                  <a:gd name="connsiteX23" fmla="*/ 1154112 w 1182687"/>
                  <a:gd name="connsiteY23" fmla="*/ 642937 h 830262"/>
                  <a:gd name="connsiteX24" fmla="*/ 1138358 w 1182687"/>
                  <a:gd name="connsiteY24" fmla="*/ 658812 h 830262"/>
                  <a:gd name="connsiteX25" fmla="*/ 906341 w 1182687"/>
                  <a:gd name="connsiteY25" fmla="*/ 658812 h 830262"/>
                  <a:gd name="connsiteX26" fmla="*/ 890587 w 1182687"/>
                  <a:gd name="connsiteY26" fmla="*/ 642937 h 830262"/>
                  <a:gd name="connsiteX27" fmla="*/ 906341 w 1182687"/>
                  <a:gd name="connsiteY27" fmla="*/ 627062 h 830262"/>
                  <a:gd name="connsiteX28" fmla="*/ 476035 w 1182687"/>
                  <a:gd name="connsiteY28" fmla="*/ 627062 h 830262"/>
                  <a:gd name="connsiteX29" fmla="*/ 706654 w 1182687"/>
                  <a:gd name="connsiteY29" fmla="*/ 627062 h 830262"/>
                  <a:gd name="connsiteX30" fmla="*/ 722313 w 1182687"/>
                  <a:gd name="connsiteY30" fmla="*/ 642937 h 830262"/>
                  <a:gd name="connsiteX31" fmla="*/ 706654 w 1182687"/>
                  <a:gd name="connsiteY31" fmla="*/ 658812 h 830262"/>
                  <a:gd name="connsiteX32" fmla="*/ 476035 w 1182687"/>
                  <a:gd name="connsiteY32" fmla="*/ 658812 h 830262"/>
                  <a:gd name="connsiteX33" fmla="*/ 460375 w 1182687"/>
                  <a:gd name="connsiteY33" fmla="*/ 642937 h 830262"/>
                  <a:gd name="connsiteX34" fmla="*/ 476035 w 1182687"/>
                  <a:gd name="connsiteY34" fmla="*/ 627062 h 830262"/>
                  <a:gd name="connsiteX35" fmla="*/ 44329 w 1182687"/>
                  <a:gd name="connsiteY35" fmla="*/ 627062 h 830262"/>
                  <a:gd name="connsiteX36" fmla="*/ 276346 w 1182687"/>
                  <a:gd name="connsiteY36" fmla="*/ 627062 h 830262"/>
                  <a:gd name="connsiteX37" fmla="*/ 292100 w 1182687"/>
                  <a:gd name="connsiteY37" fmla="*/ 642937 h 830262"/>
                  <a:gd name="connsiteX38" fmla="*/ 276346 w 1182687"/>
                  <a:gd name="connsiteY38" fmla="*/ 658812 h 830262"/>
                  <a:gd name="connsiteX39" fmla="*/ 44329 w 1182687"/>
                  <a:gd name="connsiteY39" fmla="*/ 658812 h 830262"/>
                  <a:gd name="connsiteX40" fmla="*/ 28575 w 1182687"/>
                  <a:gd name="connsiteY40" fmla="*/ 642937 h 830262"/>
                  <a:gd name="connsiteX41" fmla="*/ 44329 w 1182687"/>
                  <a:gd name="connsiteY41" fmla="*/ 627062 h 830262"/>
                  <a:gd name="connsiteX42" fmla="*/ 906341 w 1182687"/>
                  <a:gd name="connsiteY42" fmla="*/ 454025 h 830262"/>
                  <a:gd name="connsiteX43" fmla="*/ 1138358 w 1182687"/>
                  <a:gd name="connsiteY43" fmla="*/ 454025 h 830262"/>
                  <a:gd name="connsiteX44" fmla="*/ 1154112 w 1182687"/>
                  <a:gd name="connsiteY44" fmla="*/ 469900 h 830262"/>
                  <a:gd name="connsiteX45" fmla="*/ 1138358 w 1182687"/>
                  <a:gd name="connsiteY45" fmla="*/ 485775 h 830262"/>
                  <a:gd name="connsiteX46" fmla="*/ 906341 w 1182687"/>
                  <a:gd name="connsiteY46" fmla="*/ 485775 h 830262"/>
                  <a:gd name="connsiteX47" fmla="*/ 890587 w 1182687"/>
                  <a:gd name="connsiteY47" fmla="*/ 469900 h 830262"/>
                  <a:gd name="connsiteX48" fmla="*/ 906341 w 1182687"/>
                  <a:gd name="connsiteY48" fmla="*/ 454025 h 830262"/>
                  <a:gd name="connsiteX49" fmla="*/ 476035 w 1182687"/>
                  <a:gd name="connsiteY49" fmla="*/ 454025 h 830262"/>
                  <a:gd name="connsiteX50" fmla="*/ 706654 w 1182687"/>
                  <a:gd name="connsiteY50" fmla="*/ 454025 h 830262"/>
                  <a:gd name="connsiteX51" fmla="*/ 722313 w 1182687"/>
                  <a:gd name="connsiteY51" fmla="*/ 469900 h 830262"/>
                  <a:gd name="connsiteX52" fmla="*/ 706654 w 1182687"/>
                  <a:gd name="connsiteY52" fmla="*/ 485775 h 830262"/>
                  <a:gd name="connsiteX53" fmla="*/ 476035 w 1182687"/>
                  <a:gd name="connsiteY53" fmla="*/ 485775 h 830262"/>
                  <a:gd name="connsiteX54" fmla="*/ 460375 w 1182687"/>
                  <a:gd name="connsiteY54" fmla="*/ 469900 h 830262"/>
                  <a:gd name="connsiteX55" fmla="*/ 476035 w 1182687"/>
                  <a:gd name="connsiteY55" fmla="*/ 454025 h 830262"/>
                  <a:gd name="connsiteX56" fmla="*/ 44329 w 1182687"/>
                  <a:gd name="connsiteY56" fmla="*/ 454025 h 830262"/>
                  <a:gd name="connsiteX57" fmla="*/ 276346 w 1182687"/>
                  <a:gd name="connsiteY57" fmla="*/ 454025 h 830262"/>
                  <a:gd name="connsiteX58" fmla="*/ 292100 w 1182687"/>
                  <a:gd name="connsiteY58" fmla="*/ 469900 h 830262"/>
                  <a:gd name="connsiteX59" fmla="*/ 276346 w 1182687"/>
                  <a:gd name="connsiteY59" fmla="*/ 485775 h 830262"/>
                  <a:gd name="connsiteX60" fmla="*/ 44329 w 1182687"/>
                  <a:gd name="connsiteY60" fmla="*/ 485775 h 830262"/>
                  <a:gd name="connsiteX61" fmla="*/ 28575 w 1182687"/>
                  <a:gd name="connsiteY61" fmla="*/ 469900 h 830262"/>
                  <a:gd name="connsiteX62" fmla="*/ 44329 w 1182687"/>
                  <a:gd name="connsiteY62" fmla="*/ 454025 h 830262"/>
                  <a:gd name="connsiteX63" fmla="*/ 906341 w 1182687"/>
                  <a:gd name="connsiteY63" fmla="*/ 282575 h 830262"/>
                  <a:gd name="connsiteX64" fmla="*/ 1138358 w 1182687"/>
                  <a:gd name="connsiteY64" fmla="*/ 282575 h 830262"/>
                  <a:gd name="connsiteX65" fmla="*/ 1154112 w 1182687"/>
                  <a:gd name="connsiteY65" fmla="*/ 297657 h 830262"/>
                  <a:gd name="connsiteX66" fmla="*/ 1138358 w 1182687"/>
                  <a:gd name="connsiteY66" fmla="*/ 312738 h 830262"/>
                  <a:gd name="connsiteX67" fmla="*/ 906341 w 1182687"/>
                  <a:gd name="connsiteY67" fmla="*/ 312738 h 830262"/>
                  <a:gd name="connsiteX68" fmla="*/ 890587 w 1182687"/>
                  <a:gd name="connsiteY68" fmla="*/ 297657 h 830262"/>
                  <a:gd name="connsiteX69" fmla="*/ 906341 w 1182687"/>
                  <a:gd name="connsiteY69" fmla="*/ 282575 h 830262"/>
                  <a:gd name="connsiteX70" fmla="*/ 476035 w 1182687"/>
                  <a:gd name="connsiteY70" fmla="*/ 282575 h 830262"/>
                  <a:gd name="connsiteX71" fmla="*/ 706654 w 1182687"/>
                  <a:gd name="connsiteY71" fmla="*/ 282575 h 830262"/>
                  <a:gd name="connsiteX72" fmla="*/ 722313 w 1182687"/>
                  <a:gd name="connsiteY72" fmla="*/ 297657 h 830262"/>
                  <a:gd name="connsiteX73" fmla="*/ 706654 w 1182687"/>
                  <a:gd name="connsiteY73" fmla="*/ 312738 h 830262"/>
                  <a:gd name="connsiteX74" fmla="*/ 476035 w 1182687"/>
                  <a:gd name="connsiteY74" fmla="*/ 312738 h 830262"/>
                  <a:gd name="connsiteX75" fmla="*/ 460375 w 1182687"/>
                  <a:gd name="connsiteY75" fmla="*/ 297657 h 830262"/>
                  <a:gd name="connsiteX76" fmla="*/ 476035 w 1182687"/>
                  <a:gd name="connsiteY76" fmla="*/ 282575 h 830262"/>
                  <a:gd name="connsiteX77" fmla="*/ 44329 w 1182687"/>
                  <a:gd name="connsiteY77" fmla="*/ 282575 h 830262"/>
                  <a:gd name="connsiteX78" fmla="*/ 276346 w 1182687"/>
                  <a:gd name="connsiteY78" fmla="*/ 282575 h 830262"/>
                  <a:gd name="connsiteX79" fmla="*/ 292100 w 1182687"/>
                  <a:gd name="connsiteY79" fmla="*/ 297657 h 830262"/>
                  <a:gd name="connsiteX80" fmla="*/ 276346 w 1182687"/>
                  <a:gd name="connsiteY80" fmla="*/ 312738 h 830262"/>
                  <a:gd name="connsiteX81" fmla="*/ 44329 w 1182687"/>
                  <a:gd name="connsiteY81" fmla="*/ 312738 h 830262"/>
                  <a:gd name="connsiteX82" fmla="*/ 28575 w 1182687"/>
                  <a:gd name="connsiteY82" fmla="*/ 297657 h 830262"/>
                  <a:gd name="connsiteX83" fmla="*/ 44329 w 1182687"/>
                  <a:gd name="connsiteY83" fmla="*/ 282575 h 830262"/>
                  <a:gd name="connsiteX84" fmla="*/ 823912 w 1182687"/>
                  <a:gd name="connsiteY84" fmla="*/ 0 h 830262"/>
                  <a:gd name="connsiteX85" fmla="*/ 1182687 w 1182687"/>
                  <a:gd name="connsiteY85" fmla="*/ 0 h 830262"/>
                  <a:gd name="connsiteX86" fmla="*/ 1182687 w 1182687"/>
                  <a:gd name="connsiteY86" fmla="*/ 147638 h 830262"/>
                  <a:gd name="connsiteX87" fmla="*/ 823912 w 1182687"/>
                  <a:gd name="connsiteY87" fmla="*/ 147638 h 830262"/>
                  <a:gd name="connsiteX88" fmla="*/ 823912 w 1182687"/>
                  <a:gd name="connsiteY88" fmla="*/ 33338 h 830262"/>
                  <a:gd name="connsiteX89" fmla="*/ 388937 w 1182687"/>
                  <a:gd name="connsiteY89" fmla="*/ 0 h 830262"/>
                  <a:gd name="connsiteX90" fmla="*/ 793750 w 1182687"/>
                  <a:gd name="connsiteY90" fmla="*/ 0 h 830262"/>
                  <a:gd name="connsiteX91" fmla="*/ 793750 w 1182687"/>
                  <a:gd name="connsiteY91" fmla="*/ 33338 h 830262"/>
                  <a:gd name="connsiteX92" fmla="*/ 793750 w 1182687"/>
                  <a:gd name="connsiteY92" fmla="*/ 147638 h 830262"/>
                  <a:gd name="connsiteX93" fmla="*/ 388937 w 1182687"/>
                  <a:gd name="connsiteY93" fmla="*/ 147638 h 830262"/>
                  <a:gd name="connsiteX94" fmla="*/ 388937 w 1182687"/>
                  <a:gd name="connsiteY94" fmla="*/ 33338 h 830262"/>
                  <a:gd name="connsiteX95" fmla="*/ 0 w 1182687"/>
                  <a:gd name="connsiteY95" fmla="*/ 0 h 830262"/>
                  <a:gd name="connsiteX96" fmla="*/ 357188 w 1182687"/>
                  <a:gd name="connsiteY96" fmla="*/ 0 h 830262"/>
                  <a:gd name="connsiteX97" fmla="*/ 357188 w 1182687"/>
                  <a:gd name="connsiteY97" fmla="*/ 33338 h 830262"/>
                  <a:gd name="connsiteX98" fmla="*/ 357188 w 1182687"/>
                  <a:gd name="connsiteY98" fmla="*/ 147638 h 830262"/>
                  <a:gd name="connsiteX99" fmla="*/ 0 w 1182687"/>
                  <a:gd name="connsiteY99" fmla="*/ 147638 h 83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182687" h="830262">
                    <a:moveTo>
                      <a:pt x="906341" y="798512"/>
                    </a:moveTo>
                    <a:cubicBezTo>
                      <a:pt x="906341" y="798512"/>
                      <a:pt x="906341" y="798512"/>
                      <a:pt x="1138358" y="798512"/>
                    </a:cubicBezTo>
                    <a:cubicBezTo>
                      <a:pt x="1146951" y="798512"/>
                      <a:pt x="1154112" y="805728"/>
                      <a:pt x="1154112" y="814387"/>
                    </a:cubicBezTo>
                    <a:cubicBezTo>
                      <a:pt x="1154112" y="823046"/>
                      <a:pt x="1146951" y="830262"/>
                      <a:pt x="1138358" y="830262"/>
                    </a:cubicBezTo>
                    <a:cubicBezTo>
                      <a:pt x="1138358" y="830262"/>
                      <a:pt x="1138358" y="830262"/>
                      <a:pt x="906341" y="830262"/>
                    </a:cubicBezTo>
                    <a:cubicBezTo>
                      <a:pt x="897748" y="830262"/>
                      <a:pt x="890587" y="823046"/>
                      <a:pt x="890587" y="814387"/>
                    </a:cubicBezTo>
                    <a:cubicBezTo>
                      <a:pt x="890587" y="805728"/>
                      <a:pt x="897748" y="798512"/>
                      <a:pt x="906341" y="798512"/>
                    </a:cubicBezTo>
                    <a:close/>
                    <a:moveTo>
                      <a:pt x="476035" y="798512"/>
                    </a:moveTo>
                    <a:cubicBezTo>
                      <a:pt x="476035" y="798512"/>
                      <a:pt x="476035" y="798512"/>
                      <a:pt x="706654" y="798512"/>
                    </a:cubicBezTo>
                    <a:cubicBezTo>
                      <a:pt x="715195" y="798512"/>
                      <a:pt x="722313" y="805728"/>
                      <a:pt x="722313" y="814387"/>
                    </a:cubicBezTo>
                    <a:cubicBezTo>
                      <a:pt x="722313" y="823046"/>
                      <a:pt x="715195" y="830262"/>
                      <a:pt x="706654" y="830262"/>
                    </a:cubicBezTo>
                    <a:cubicBezTo>
                      <a:pt x="706654" y="830262"/>
                      <a:pt x="706654" y="830262"/>
                      <a:pt x="476035" y="830262"/>
                    </a:cubicBezTo>
                    <a:cubicBezTo>
                      <a:pt x="467493" y="830262"/>
                      <a:pt x="460375" y="823046"/>
                      <a:pt x="460375" y="814387"/>
                    </a:cubicBezTo>
                    <a:cubicBezTo>
                      <a:pt x="460375" y="805728"/>
                      <a:pt x="467493" y="798512"/>
                      <a:pt x="476035" y="798512"/>
                    </a:cubicBezTo>
                    <a:close/>
                    <a:moveTo>
                      <a:pt x="44329" y="798512"/>
                    </a:moveTo>
                    <a:cubicBezTo>
                      <a:pt x="44329" y="798512"/>
                      <a:pt x="44329" y="798512"/>
                      <a:pt x="276346" y="798512"/>
                    </a:cubicBezTo>
                    <a:cubicBezTo>
                      <a:pt x="284939" y="798512"/>
                      <a:pt x="292100" y="805728"/>
                      <a:pt x="292100" y="814387"/>
                    </a:cubicBezTo>
                    <a:cubicBezTo>
                      <a:pt x="292100" y="823046"/>
                      <a:pt x="284939" y="830262"/>
                      <a:pt x="276346" y="830262"/>
                    </a:cubicBezTo>
                    <a:cubicBezTo>
                      <a:pt x="276346" y="830262"/>
                      <a:pt x="276346" y="830262"/>
                      <a:pt x="44329" y="830262"/>
                    </a:cubicBezTo>
                    <a:cubicBezTo>
                      <a:pt x="35736" y="830262"/>
                      <a:pt x="28575" y="823046"/>
                      <a:pt x="28575" y="814387"/>
                    </a:cubicBezTo>
                    <a:cubicBezTo>
                      <a:pt x="28575" y="805728"/>
                      <a:pt x="35736" y="798512"/>
                      <a:pt x="44329" y="798512"/>
                    </a:cubicBezTo>
                    <a:close/>
                    <a:moveTo>
                      <a:pt x="906341" y="627062"/>
                    </a:moveTo>
                    <a:cubicBezTo>
                      <a:pt x="906341" y="627062"/>
                      <a:pt x="906341" y="627062"/>
                      <a:pt x="1138358" y="627062"/>
                    </a:cubicBezTo>
                    <a:cubicBezTo>
                      <a:pt x="1146951" y="627062"/>
                      <a:pt x="1154112" y="634278"/>
                      <a:pt x="1154112" y="642937"/>
                    </a:cubicBezTo>
                    <a:cubicBezTo>
                      <a:pt x="1154112" y="651596"/>
                      <a:pt x="1146951" y="658812"/>
                      <a:pt x="1138358" y="658812"/>
                    </a:cubicBezTo>
                    <a:cubicBezTo>
                      <a:pt x="1138358" y="658812"/>
                      <a:pt x="1138358" y="658812"/>
                      <a:pt x="906341" y="658812"/>
                    </a:cubicBezTo>
                    <a:cubicBezTo>
                      <a:pt x="897748" y="658812"/>
                      <a:pt x="890587" y="651596"/>
                      <a:pt x="890587" y="642937"/>
                    </a:cubicBezTo>
                    <a:cubicBezTo>
                      <a:pt x="890587" y="634278"/>
                      <a:pt x="897748" y="627062"/>
                      <a:pt x="906341" y="627062"/>
                    </a:cubicBezTo>
                    <a:close/>
                    <a:moveTo>
                      <a:pt x="476035" y="627062"/>
                    </a:moveTo>
                    <a:cubicBezTo>
                      <a:pt x="476035" y="627062"/>
                      <a:pt x="476035" y="627062"/>
                      <a:pt x="706654" y="627062"/>
                    </a:cubicBezTo>
                    <a:cubicBezTo>
                      <a:pt x="715195" y="627062"/>
                      <a:pt x="722313" y="634278"/>
                      <a:pt x="722313" y="642937"/>
                    </a:cubicBezTo>
                    <a:cubicBezTo>
                      <a:pt x="722313" y="651596"/>
                      <a:pt x="715195" y="658812"/>
                      <a:pt x="706654" y="658812"/>
                    </a:cubicBezTo>
                    <a:cubicBezTo>
                      <a:pt x="706654" y="658812"/>
                      <a:pt x="706654" y="658812"/>
                      <a:pt x="476035" y="658812"/>
                    </a:cubicBezTo>
                    <a:cubicBezTo>
                      <a:pt x="467493" y="658812"/>
                      <a:pt x="460375" y="651596"/>
                      <a:pt x="460375" y="642937"/>
                    </a:cubicBezTo>
                    <a:cubicBezTo>
                      <a:pt x="460375" y="634278"/>
                      <a:pt x="467493" y="627062"/>
                      <a:pt x="476035" y="627062"/>
                    </a:cubicBezTo>
                    <a:close/>
                    <a:moveTo>
                      <a:pt x="44329" y="627062"/>
                    </a:moveTo>
                    <a:cubicBezTo>
                      <a:pt x="44329" y="627062"/>
                      <a:pt x="44329" y="627062"/>
                      <a:pt x="276346" y="627062"/>
                    </a:cubicBezTo>
                    <a:cubicBezTo>
                      <a:pt x="284939" y="627062"/>
                      <a:pt x="292100" y="634278"/>
                      <a:pt x="292100" y="642937"/>
                    </a:cubicBezTo>
                    <a:cubicBezTo>
                      <a:pt x="292100" y="651596"/>
                      <a:pt x="284939" y="658812"/>
                      <a:pt x="276346" y="658812"/>
                    </a:cubicBezTo>
                    <a:cubicBezTo>
                      <a:pt x="276346" y="658812"/>
                      <a:pt x="276346" y="658812"/>
                      <a:pt x="44329" y="658812"/>
                    </a:cubicBezTo>
                    <a:cubicBezTo>
                      <a:pt x="35736" y="658812"/>
                      <a:pt x="28575" y="651596"/>
                      <a:pt x="28575" y="642937"/>
                    </a:cubicBezTo>
                    <a:cubicBezTo>
                      <a:pt x="28575" y="634278"/>
                      <a:pt x="35736" y="627062"/>
                      <a:pt x="44329" y="627062"/>
                    </a:cubicBezTo>
                    <a:close/>
                    <a:moveTo>
                      <a:pt x="906341" y="454025"/>
                    </a:moveTo>
                    <a:cubicBezTo>
                      <a:pt x="906341" y="454025"/>
                      <a:pt x="906341" y="454025"/>
                      <a:pt x="1138358" y="454025"/>
                    </a:cubicBezTo>
                    <a:cubicBezTo>
                      <a:pt x="1146951" y="454025"/>
                      <a:pt x="1154112" y="461241"/>
                      <a:pt x="1154112" y="469900"/>
                    </a:cubicBezTo>
                    <a:cubicBezTo>
                      <a:pt x="1154112" y="478559"/>
                      <a:pt x="1146951" y="485775"/>
                      <a:pt x="1138358" y="485775"/>
                    </a:cubicBezTo>
                    <a:cubicBezTo>
                      <a:pt x="1138358" y="485775"/>
                      <a:pt x="1138358" y="485775"/>
                      <a:pt x="906341" y="485775"/>
                    </a:cubicBezTo>
                    <a:cubicBezTo>
                      <a:pt x="897748" y="485775"/>
                      <a:pt x="890587" y="478559"/>
                      <a:pt x="890587" y="469900"/>
                    </a:cubicBezTo>
                    <a:cubicBezTo>
                      <a:pt x="890587" y="461241"/>
                      <a:pt x="897748" y="454025"/>
                      <a:pt x="906341" y="454025"/>
                    </a:cubicBezTo>
                    <a:close/>
                    <a:moveTo>
                      <a:pt x="476035" y="454025"/>
                    </a:moveTo>
                    <a:cubicBezTo>
                      <a:pt x="476035" y="454025"/>
                      <a:pt x="476035" y="454025"/>
                      <a:pt x="706654" y="454025"/>
                    </a:cubicBezTo>
                    <a:cubicBezTo>
                      <a:pt x="715195" y="454025"/>
                      <a:pt x="722313" y="461241"/>
                      <a:pt x="722313" y="469900"/>
                    </a:cubicBezTo>
                    <a:cubicBezTo>
                      <a:pt x="722313" y="478559"/>
                      <a:pt x="715195" y="485775"/>
                      <a:pt x="706654" y="485775"/>
                    </a:cubicBezTo>
                    <a:cubicBezTo>
                      <a:pt x="706654" y="485775"/>
                      <a:pt x="706654" y="485775"/>
                      <a:pt x="476035" y="485775"/>
                    </a:cubicBezTo>
                    <a:cubicBezTo>
                      <a:pt x="467493" y="485775"/>
                      <a:pt x="460375" y="478559"/>
                      <a:pt x="460375" y="469900"/>
                    </a:cubicBezTo>
                    <a:cubicBezTo>
                      <a:pt x="460375" y="461241"/>
                      <a:pt x="467493" y="454025"/>
                      <a:pt x="476035" y="454025"/>
                    </a:cubicBezTo>
                    <a:close/>
                    <a:moveTo>
                      <a:pt x="44329" y="454025"/>
                    </a:moveTo>
                    <a:cubicBezTo>
                      <a:pt x="44329" y="454025"/>
                      <a:pt x="44329" y="454025"/>
                      <a:pt x="276346" y="454025"/>
                    </a:cubicBezTo>
                    <a:cubicBezTo>
                      <a:pt x="284939" y="454025"/>
                      <a:pt x="292100" y="461241"/>
                      <a:pt x="292100" y="469900"/>
                    </a:cubicBezTo>
                    <a:cubicBezTo>
                      <a:pt x="292100" y="478559"/>
                      <a:pt x="284939" y="485775"/>
                      <a:pt x="276346" y="485775"/>
                    </a:cubicBezTo>
                    <a:cubicBezTo>
                      <a:pt x="276346" y="485775"/>
                      <a:pt x="276346" y="485775"/>
                      <a:pt x="44329" y="485775"/>
                    </a:cubicBezTo>
                    <a:cubicBezTo>
                      <a:pt x="35736" y="485775"/>
                      <a:pt x="28575" y="478559"/>
                      <a:pt x="28575" y="469900"/>
                    </a:cubicBezTo>
                    <a:cubicBezTo>
                      <a:pt x="28575" y="461241"/>
                      <a:pt x="35736" y="454025"/>
                      <a:pt x="44329" y="454025"/>
                    </a:cubicBezTo>
                    <a:close/>
                    <a:moveTo>
                      <a:pt x="906341" y="282575"/>
                    </a:moveTo>
                    <a:cubicBezTo>
                      <a:pt x="906341" y="282575"/>
                      <a:pt x="906341" y="282575"/>
                      <a:pt x="1138358" y="282575"/>
                    </a:cubicBezTo>
                    <a:cubicBezTo>
                      <a:pt x="1146951" y="282575"/>
                      <a:pt x="1154112" y="289430"/>
                      <a:pt x="1154112" y="297657"/>
                    </a:cubicBezTo>
                    <a:cubicBezTo>
                      <a:pt x="1154112" y="305883"/>
                      <a:pt x="1146951" y="312738"/>
                      <a:pt x="1138358" y="312738"/>
                    </a:cubicBezTo>
                    <a:cubicBezTo>
                      <a:pt x="1138358" y="312738"/>
                      <a:pt x="1138358" y="312738"/>
                      <a:pt x="906341" y="312738"/>
                    </a:cubicBezTo>
                    <a:cubicBezTo>
                      <a:pt x="897748" y="312738"/>
                      <a:pt x="890587" y="305883"/>
                      <a:pt x="890587" y="297657"/>
                    </a:cubicBezTo>
                    <a:cubicBezTo>
                      <a:pt x="890587" y="289430"/>
                      <a:pt x="897748" y="282575"/>
                      <a:pt x="906341" y="282575"/>
                    </a:cubicBezTo>
                    <a:close/>
                    <a:moveTo>
                      <a:pt x="476035" y="282575"/>
                    </a:moveTo>
                    <a:cubicBezTo>
                      <a:pt x="476035" y="282575"/>
                      <a:pt x="476035" y="282575"/>
                      <a:pt x="706654" y="282575"/>
                    </a:cubicBezTo>
                    <a:cubicBezTo>
                      <a:pt x="715195" y="282575"/>
                      <a:pt x="722313" y="289430"/>
                      <a:pt x="722313" y="297657"/>
                    </a:cubicBezTo>
                    <a:cubicBezTo>
                      <a:pt x="722313" y="305883"/>
                      <a:pt x="715195" y="312738"/>
                      <a:pt x="706654" y="312738"/>
                    </a:cubicBezTo>
                    <a:cubicBezTo>
                      <a:pt x="706654" y="312738"/>
                      <a:pt x="706654" y="312738"/>
                      <a:pt x="476035" y="312738"/>
                    </a:cubicBezTo>
                    <a:cubicBezTo>
                      <a:pt x="467493" y="312738"/>
                      <a:pt x="460375" y="305883"/>
                      <a:pt x="460375" y="297657"/>
                    </a:cubicBezTo>
                    <a:cubicBezTo>
                      <a:pt x="460375" y="289430"/>
                      <a:pt x="467493" y="282575"/>
                      <a:pt x="476035" y="282575"/>
                    </a:cubicBezTo>
                    <a:close/>
                    <a:moveTo>
                      <a:pt x="44329" y="282575"/>
                    </a:moveTo>
                    <a:cubicBezTo>
                      <a:pt x="44329" y="282575"/>
                      <a:pt x="44329" y="282575"/>
                      <a:pt x="276346" y="282575"/>
                    </a:cubicBezTo>
                    <a:cubicBezTo>
                      <a:pt x="284939" y="282575"/>
                      <a:pt x="292100" y="289430"/>
                      <a:pt x="292100" y="297657"/>
                    </a:cubicBezTo>
                    <a:cubicBezTo>
                      <a:pt x="292100" y="305883"/>
                      <a:pt x="284939" y="312738"/>
                      <a:pt x="276346" y="312738"/>
                    </a:cubicBezTo>
                    <a:cubicBezTo>
                      <a:pt x="276346" y="312738"/>
                      <a:pt x="276346" y="312738"/>
                      <a:pt x="44329" y="312738"/>
                    </a:cubicBezTo>
                    <a:cubicBezTo>
                      <a:pt x="35736" y="312738"/>
                      <a:pt x="28575" y="305883"/>
                      <a:pt x="28575" y="297657"/>
                    </a:cubicBezTo>
                    <a:cubicBezTo>
                      <a:pt x="28575" y="289430"/>
                      <a:pt x="35736" y="282575"/>
                      <a:pt x="44329" y="282575"/>
                    </a:cubicBezTo>
                    <a:close/>
                    <a:moveTo>
                      <a:pt x="823912" y="0"/>
                    </a:moveTo>
                    <a:lnTo>
                      <a:pt x="1182687" y="0"/>
                    </a:lnTo>
                    <a:lnTo>
                      <a:pt x="1182687" y="147638"/>
                    </a:lnTo>
                    <a:lnTo>
                      <a:pt x="823912" y="147638"/>
                    </a:lnTo>
                    <a:lnTo>
                      <a:pt x="823912" y="33338"/>
                    </a:lnTo>
                    <a:close/>
                    <a:moveTo>
                      <a:pt x="388937" y="0"/>
                    </a:moveTo>
                    <a:lnTo>
                      <a:pt x="793750" y="0"/>
                    </a:lnTo>
                    <a:lnTo>
                      <a:pt x="793750" y="33338"/>
                    </a:lnTo>
                    <a:lnTo>
                      <a:pt x="793750" y="147638"/>
                    </a:lnTo>
                    <a:lnTo>
                      <a:pt x="388937" y="147638"/>
                    </a:lnTo>
                    <a:lnTo>
                      <a:pt x="388937" y="33338"/>
                    </a:lnTo>
                    <a:close/>
                    <a:moveTo>
                      <a:pt x="0" y="0"/>
                    </a:moveTo>
                    <a:lnTo>
                      <a:pt x="357188" y="0"/>
                    </a:lnTo>
                    <a:lnTo>
                      <a:pt x="357188" y="33338"/>
                    </a:lnTo>
                    <a:lnTo>
                      <a:pt x="357188" y="147638"/>
                    </a:lnTo>
                    <a:lnTo>
                      <a:pt x="0" y="14763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4" name="Group 23"/>
          <p:cNvGrpSpPr>
            <a:grpSpLocks noChangeAspect="1"/>
          </p:cNvGrpSpPr>
          <p:nvPr/>
        </p:nvGrpSpPr>
        <p:grpSpPr>
          <a:xfrm>
            <a:off x="630000" y="1857891"/>
            <a:ext cx="830047" cy="830047"/>
            <a:chOff x="5273038" y="2606042"/>
            <a:chExt cx="1645920" cy="1645920"/>
          </a:xfrm>
        </p:grpSpPr>
        <p:sp>
          <p:nvSpPr>
            <p:cNvPr id="25" name="AutoShape 3"/>
            <p:cNvSpPr>
              <a:spLocks noChangeAspect="1" noChangeArrowheads="1" noTextEdit="1"/>
            </p:cNvSpPr>
            <p:nvPr/>
          </p:nvSpPr>
          <p:spPr bwMode="auto">
            <a:xfrm>
              <a:off x="5273038" y="2606042"/>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6" name="Group 25"/>
            <p:cNvGrpSpPr/>
            <p:nvPr/>
          </p:nvGrpSpPr>
          <p:grpSpPr>
            <a:xfrm>
              <a:off x="5306394" y="2654914"/>
              <a:ext cx="1579208" cy="1548175"/>
              <a:chOff x="5306394" y="2654914"/>
              <a:chExt cx="1579208" cy="1548175"/>
            </a:xfrm>
          </p:grpSpPr>
          <p:sp>
            <p:nvSpPr>
              <p:cNvPr id="27" name="Freeform 26"/>
              <p:cNvSpPr>
                <a:spLocks/>
              </p:cNvSpPr>
              <p:nvPr/>
            </p:nvSpPr>
            <p:spPr bwMode="auto">
              <a:xfrm>
                <a:off x="5333195" y="2678562"/>
                <a:ext cx="1516644" cy="1497725"/>
              </a:xfrm>
              <a:custGeom>
                <a:avLst/>
                <a:gdLst>
                  <a:gd name="connsiteX0" fmla="*/ 1204823 w 1516644"/>
                  <a:gd name="connsiteY0" fmla="*/ 1308538 h 1497725"/>
                  <a:gd name="connsiteX1" fmla="*/ 1215522 w 1516644"/>
                  <a:gd name="connsiteY1" fmla="*/ 1338636 h 1497725"/>
                  <a:gd name="connsiteX2" fmla="*/ 826790 w 1516644"/>
                  <a:gd name="connsiteY2" fmla="*/ 1497725 h 1497725"/>
                  <a:gd name="connsiteX3" fmla="*/ 818231 w 1516644"/>
                  <a:gd name="connsiteY3" fmla="*/ 1466911 h 1497725"/>
                  <a:gd name="connsiteX4" fmla="*/ 754698 w 1516644"/>
                  <a:gd name="connsiteY4" fmla="*/ 1305386 h 1497725"/>
                  <a:gd name="connsiteX5" fmla="*/ 770935 w 1516644"/>
                  <a:gd name="connsiteY5" fmla="*/ 1435810 h 1497725"/>
                  <a:gd name="connsiteX6" fmla="*/ 763170 w 1516644"/>
                  <a:gd name="connsiteY6" fmla="*/ 1435093 h 1497725"/>
                  <a:gd name="connsiteX7" fmla="*/ 739874 w 1516644"/>
                  <a:gd name="connsiteY7" fmla="*/ 1439393 h 1497725"/>
                  <a:gd name="connsiteX8" fmla="*/ 723638 w 1516644"/>
                  <a:gd name="connsiteY8" fmla="*/ 1307536 h 1497725"/>
                  <a:gd name="connsiteX9" fmla="*/ 732109 w 1516644"/>
                  <a:gd name="connsiteY9" fmla="*/ 1307536 h 1497725"/>
                  <a:gd name="connsiteX10" fmla="*/ 754698 w 1516644"/>
                  <a:gd name="connsiteY10" fmla="*/ 1305386 h 1497725"/>
                  <a:gd name="connsiteX11" fmla="*/ 232705 w 1516644"/>
                  <a:gd name="connsiteY11" fmla="*/ 1221828 h 1497725"/>
                  <a:gd name="connsiteX12" fmla="*/ 711026 w 1516644"/>
                  <a:gd name="connsiteY12" fmla="*/ 1460617 h 1497725"/>
                  <a:gd name="connsiteX13" fmla="*/ 699603 w 1516644"/>
                  <a:gd name="connsiteY13" fmla="*/ 1489842 h 1497725"/>
                  <a:gd name="connsiteX14" fmla="*/ 219141 w 1516644"/>
                  <a:gd name="connsiteY14" fmla="*/ 1250340 h 1497725"/>
                  <a:gd name="connsiteX15" fmla="*/ 232705 w 1516644"/>
                  <a:gd name="connsiteY15" fmla="*/ 1221828 h 1497725"/>
                  <a:gd name="connsiteX16" fmla="*/ 836273 w 1516644"/>
                  <a:gd name="connsiteY16" fmla="*/ 1215522 h 1497725"/>
                  <a:gd name="connsiteX17" fmla="*/ 1213946 w 1516644"/>
                  <a:gd name="connsiteY17" fmla="*/ 1271670 h 1497725"/>
                  <a:gd name="connsiteX18" fmla="*/ 1205363 w 1516644"/>
                  <a:gd name="connsiteY18" fmla="*/ 1302232 h 1497725"/>
                  <a:gd name="connsiteX19" fmla="*/ 827690 w 1516644"/>
                  <a:gd name="connsiteY19" fmla="*/ 1246084 h 1497725"/>
                  <a:gd name="connsiteX20" fmla="*/ 836273 w 1516644"/>
                  <a:gd name="connsiteY20" fmla="*/ 1215522 h 1497725"/>
                  <a:gd name="connsiteX21" fmla="*/ 611424 w 1516644"/>
                  <a:gd name="connsiteY21" fmla="*/ 1120928 h 1497725"/>
                  <a:gd name="connsiteX22" fmla="*/ 644810 w 1516644"/>
                  <a:gd name="connsiteY22" fmla="*/ 1142723 h 1497725"/>
                  <a:gd name="connsiteX23" fmla="*/ 630203 w 1516644"/>
                  <a:gd name="connsiteY23" fmla="*/ 1172955 h 1497725"/>
                  <a:gd name="connsiteX24" fmla="*/ 597513 w 1516644"/>
                  <a:gd name="connsiteY24" fmla="*/ 1152566 h 1497725"/>
                  <a:gd name="connsiteX25" fmla="*/ 611424 w 1516644"/>
                  <a:gd name="connsiteY25" fmla="*/ 1120928 h 1497725"/>
                  <a:gd name="connsiteX26" fmla="*/ 484598 w 1516644"/>
                  <a:gd name="connsiteY26" fmla="*/ 1113046 h 1497725"/>
                  <a:gd name="connsiteX27" fmla="*/ 493179 w 1516644"/>
                  <a:gd name="connsiteY27" fmla="*/ 1143744 h 1497725"/>
                  <a:gd name="connsiteX28" fmla="*/ 435973 w 1516644"/>
                  <a:gd name="connsiteY28" fmla="*/ 1155167 h 1497725"/>
                  <a:gd name="connsiteX29" fmla="*/ 285091 w 1516644"/>
                  <a:gd name="connsiteY29" fmla="*/ 1185151 h 1497725"/>
                  <a:gd name="connsiteX30" fmla="*/ 560396 w 1516644"/>
                  <a:gd name="connsiteY30" fmla="*/ 1193004 h 1497725"/>
                  <a:gd name="connsiteX31" fmla="*/ 626899 w 1516644"/>
                  <a:gd name="connsiteY31" fmla="*/ 1195146 h 1497725"/>
                  <a:gd name="connsiteX32" fmla="*/ 626183 w 1516644"/>
                  <a:gd name="connsiteY32" fmla="*/ 1202285 h 1497725"/>
                  <a:gd name="connsiteX33" fmla="*/ 629044 w 1516644"/>
                  <a:gd name="connsiteY33" fmla="*/ 1226558 h 1497725"/>
                  <a:gd name="connsiteX34" fmla="*/ 234320 w 1516644"/>
                  <a:gd name="connsiteY34" fmla="*/ 1214422 h 1497725"/>
                  <a:gd name="connsiteX35" fmla="*/ 235751 w 1516644"/>
                  <a:gd name="connsiteY35" fmla="*/ 1198716 h 1497725"/>
                  <a:gd name="connsiteX36" fmla="*/ 228600 w 1516644"/>
                  <a:gd name="connsiteY36" fmla="*/ 1164448 h 1497725"/>
                  <a:gd name="connsiteX37" fmla="*/ 484598 w 1516644"/>
                  <a:gd name="connsiteY37" fmla="*/ 1113046 h 1497725"/>
                  <a:gd name="connsiteX38" fmla="*/ 1398975 w 1516644"/>
                  <a:gd name="connsiteY38" fmla="*/ 1102010 h 1497725"/>
                  <a:gd name="connsiteX39" fmla="*/ 1420473 w 1516644"/>
                  <a:gd name="connsiteY39" fmla="*/ 1125721 h 1497725"/>
                  <a:gd name="connsiteX40" fmla="*/ 1318714 w 1516644"/>
                  <a:gd name="connsiteY40" fmla="*/ 1264395 h 1497725"/>
                  <a:gd name="connsiteX41" fmla="*/ 1294349 w 1516644"/>
                  <a:gd name="connsiteY41" fmla="*/ 1244995 h 1497725"/>
                  <a:gd name="connsiteX42" fmla="*/ 1398975 w 1516644"/>
                  <a:gd name="connsiteY42" fmla="*/ 1102010 h 1497725"/>
                  <a:gd name="connsiteX43" fmla="*/ 1391827 w 1516644"/>
                  <a:gd name="connsiteY43" fmla="*/ 1067326 h 1497725"/>
                  <a:gd name="connsiteX44" fmla="*/ 1391827 w 1516644"/>
                  <a:gd name="connsiteY44" fmla="*/ 1073743 h 1497725"/>
                  <a:gd name="connsiteX45" fmla="*/ 1396827 w 1516644"/>
                  <a:gd name="connsiteY45" fmla="*/ 1098699 h 1497725"/>
                  <a:gd name="connsiteX46" fmla="*/ 836854 w 1516644"/>
                  <a:gd name="connsiteY46" fmla="*/ 1209216 h 1497725"/>
                  <a:gd name="connsiteX47" fmla="*/ 837568 w 1516644"/>
                  <a:gd name="connsiteY47" fmla="*/ 1202799 h 1497725"/>
                  <a:gd name="connsiteX48" fmla="*/ 833997 w 1516644"/>
                  <a:gd name="connsiteY48" fmla="*/ 1177843 h 1497725"/>
                  <a:gd name="connsiteX49" fmla="*/ 1391827 w 1516644"/>
                  <a:gd name="connsiteY49" fmla="*/ 1067326 h 1497725"/>
                  <a:gd name="connsiteX50" fmla="*/ 1282680 w 1516644"/>
                  <a:gd name="connsiteY50" fmla="*/ 889176 h 1497725"/>
                  <a:gd name="connsiteX51" fmla="*/ 1323413 w 1516644"/>
                  <a:gd name="connsiteY51" fmla="*/ 931382 h 1497725"/>
                  <a:gd name="connsiteX52" fmla="*/ 1414168 w 1516644"/>
                  <a:gd name="connsiteY52" fmla="*/ 1025808 h 1497725"/>
                  <a:gd name="connsiteX53" fmla="*/ 1395588 w 1516644"/>
                  <a:gd name="connsiteY53" fmla="*/ 1051561 h 1497725"/>
                  <a:gd name="connsiteX54" fmla="*/ 1379152 w 1516644"/>
                  <a:gd name="connsiteY54" fmla="*/ 1034393 h 1497725"/>
                  <a:gd name="connsiteX55" fmla="*/ 1261242 w 1516644"/>
                  <a:gd name="connsiteY55" fmla="*/ 912067 h 1497725"/>
                  <a:gd name="connsiteX56" fmla="*/ 1282680 w 1516644"/>
                  <a:gd name="connsiteY56" fmla="*/ 889176 h 1497725"/>
                  <a:gd name="connsiteX57" fmla="*/ 1129929 w 1516644"/>
                  <a:gd name="connsiteY57" fmla="*/ 876563 h 1497725"/>
                  <a:gd name="connsiteX58" fmla="*/ 1147731 w 1516644"/>
                  <a:gd name="connsiteY58" fmla="*/ 903051 h 1497725"/>
                  <a:gd name="connsiteX59" fmla="*/ 826574 w 1516644"/>
                  <a:gd name="connsiteY59" fmla="*/ 1157189 h 1497725"/>
                  <a:gd name="connsiteX60" fmla="*/ 808772 w 1516644"/>
                  <a:gd name="connsiteY60" fmla="*/ 1130701 h 1497725"/>
                  <a:gd name="connsiteX61" fmla="*/ 1129929 w 1516644"/>
                  <a:gd name="connsiteY61" fmla="*/ 876563 h 1497725"/>
                  <a:gd name="connsiteX62" fmla="*/ 33922 w 1516644"/>
                  <a:gd name="connsiteY62" fmla="*/ 793005 h 1497725"/>
                  <a:gd name="connsiteX63" fmla="*/ 137161 w 1516644"/>
                  <a:gd name="connsiteY63" fmla="*/ 1114069 h 1497725"/>
                  <a:gd name="connsiteX64" fmla="*/ 107257 w 1516644"/>
                  <a:gd name="connsiteY64" fmla="*/ 1124080 h 1497725"/>
                  <a:gd name="connsiteX65" fmla="*/ 4730 w 1516644"/>
                  <a:gd name="connsiteY65" fmla="*/ 805161 h 1497725"/>
                  <a:gd name="connsiteX66" fmla="*/ 33922 w 1516644"/>
                  <a:gd name="connsiteY66" fmla="*/ 793005 h 1497725"/>
                  <a:gd name="connsiteX67" fmla="*/ 1486759 w 1516644"/>
                  <a:gd name="connsiteY67" fmla="*/ 774087 h 1497725"/>
                  <a:gd name="connsiteX68" fmla="*/ 1516644 w 1516644"/>
                  <a:gd name="connsiteY68" fmla="*/ 784096 h 1497725"/>
                  <a:gd name="connsiteX69" fmla="*/ 1468259 w 1516644"/>
                  <a:gd name="connsiteY69" fmla="*/ 1010717 h 1497725"/>
                  <a:gd name="connsiteX70" fmla="*/ 1455451 w 1516644"/>
                  <a:gd name="connsiteY70" fmla="*/ 1009288 h 1497725"/>
                  <a:gd name="connsiteX71" fmla="*/ 1436239 w 1516644"/>
                  <a:gd name="connsiteY71" fmla="*/ 1012147 h 1497725"/>
                  <a:gd name="connsiteX72" fmla="*/ 1486759 w 1516644"/>
                  <a:gd name="connsiteY72" fmla="*/ 774087 h 1497725"/>
                  <a:gd name="connsiteX73" fmla="*/ 52851 w 1516644"/>
                  <a:gd name="connsiteY73" fmla="*/ 759899 h 1497725"/>
                  <a:gd name="connsiteX74" fmla="*/ 513957 w 1516644"/>
                  <a:gd name="connsiteY74" fmla="*/ 1058201 h 1497725"/>
                  <a:gd name="connsiteX75" fmla="*/ 490365 w 1516644"/>
                  <a:gd name="connsiteY75" fmla="*/ 1084669 h 1497725"/>
                  <a:gd name="connsiteX76" fmla="*/ 37838 w 1516644"/>
                  <a:gd name="connsiteY76" fmla="*/ 787798 h 1497725"/>
                  <a:gd name="connsiteX77" fmla="*/ 52851 w 1516644"/>
                  <a:gd name="connsiteY77" fmla="*/ 759899 h 1497725"/>
                  <a:gd name="connsiteX78" fmla="*/ 1458598 w 1516644"/>
                  <a:gd name="connsiteY78" fmla="*/ 728368 h 1497725"/>
                  <a:gd name="connsiteX79" fmla="*/ 1469347 w 1516644"/>
                  <a:gd name="connsiteY79" fmla="*/ 757704 h 1497725"/>
                  <a:gd name="connsiteX80" fmla="*/ 1293059 w 1516644"/>
                  <a:gd name="connsiteY80" fmla="*/ 821385 h 1497725"/>
                  <a:gd name="connsiteX81" fmla="*/ 1280160 w 1516644"/>
                  <a:gd name="connsiteY81" fmla="*/ 792765 h 1497725"/>
                  <a:gd name="connsiteX82" fmla="*/ 1458598 w 1516644"/>
                  <a:gd name="connsiteY82" fmla="*/ 728368 h 1497725"/>
                  <a:gd name="connsiteX83" fmla="*/ 551912 w 1516644"/>
                  <a:gd name="connsiteY83" fmla="*/ 698412 h 1497725"/>
                  <a:gd name="connsiteX84" fmla="*/ 628529 w 1516644"/>
                  <a:gd name="connsiteY84" fmla="*/ 904018 h 1497725"/>
                  <a:gd name="connsiteX85" fmla="*/ 701565 w 1516644"/>
                  <a:gd name="connsiteY85" fmla="*/ 1101772 h 1497725"/>
                  <a:gd name="connsiteX86" fmla="*/ 672923 w 1516644"/>
                  <a:gd name="connsiteY86" fmla="*/ 1114622 h 1497725"/>
                  <a:gd name="connsiteX87" fmla="*/ 521839 w 1516644"/>
                  <a:gd name="connsiteY87" fmla="*/ 708407 h 1497725"/>
                  <a:gd name="connsiteX88" fmla="*/ 551912 w 1516644"/>
                  <a:gd name="connsiteY88" fmla="*/ 698412 h 1497725"/>
                  <a:gd name="connsiteX89" fmla="*/ 580726 w 1516644"/>
                  <a:gd name="connsiteY89" fmla="*/ 649540 h 1497725"/>
                  <a:gd name="connsiteX90" fmla="*/ 1135117 w 1516644"/>
                  <a:gd name="connsiteY90" fmla="*/ 799313 h 1497725"/>
                  <a:gd name="connsiteX91" fmla="*/ 1124387 w 1516644"/>
                  <a:gd name="connsiteY91" fmla="*/ 830844 h 1497725"/>
                  <a:gd name="connsiteX92" fmla="*/ 570711 w 1516644"/>
                  <a:gd name="connsiteY92" fmla="*/ 679638 h 1497725"/>
                  <a:gd name="connsiteX93" fmla="*/ 580726 w 1516644"/>
                  <a:gd name="connsiteY93" fmla="*/ 649540 h 1497725"/>
                  <a:gd name="connsiteX94" fmla="*/ 454766 w 1516644"/>
                  <a:gd name="connsiteY94" fmla="*/ 644810 h 1497725"/>
                  <a:gd name="connsiteX95" fmla="*/ 454766 w 1516644"/>
                  <a:gd name="connsiteY95" fmla="*/ 645519 h 1497725"/>
                  <a:gd name="connsiteX96" fmla="*/ 461930 w 1516644"/>
                  <a:gd name="connsiteY96" fmla="*/ 674585 h 1497725"/>
                  <a:gd name="connsiteX97" fmla="*/ 53600 w 1516644"/>
                  <a:gd name="connsiteY97" fmla="*/ 750440 h 1497725"/>
                  <a:gd name="connsiteX98" fmla="*/ 53600 w 1516644"/>
                  <a:gd name="connsiteY98" fmla="*/ 749022 h 1497725"/>
                  <a:gd name="connsiteX99" fmla="*/ 45720 w 1516644"/>
                  <a:gd name="connsiteY99" fmla="*/ 720665 h 1497725"/>
                  <a:gd name="connsiteX100" fmla="*/ 454766 w 1516644"/>
                  <a:gd name="connsiteY100" fmla="*/ 644810 h 1497725"/>
                  <a:gd name="connsiteX101" fmla="*/ 79516 w 1516644"/>
                  <a:gd name="connsiteY101" fmla="*/ 424092 h 1497725"/>
                  <a:gd name="connsiteX102" fmla="*/ 107205 w 1516644"/>
                  <a:gd name="connsiteY102" fmla="*/ 438446 h 1497725"/>
                  <a:gd name="connsiteX103" fmla="*/ 29818 w 1516644"/>
                  <a:gd name="connsiteY103" fmla="*/ 704718 h 1497725"/>
                  <a:gd name="connsiteX104" fmla="*/ 0 w 1516644"/>
                  <a:gd name="connsiteY104" fmla="*/ 694670 h 1497725"/>
                  <a:gd name="connsiteX105" fmla="*/ 79516 w 1516644"/>
                  <a:gd name="connsiteY105" fmla="*/ 424092 h 1497725"/>
                  <a:gd name="connsiteX106" fmla="*/ 208506 w 1516644"/>
                  <a:gd name="connsiteY106" fmla="*/ 395715 h 1497725"/>
                  <a:gd name="connsiteX107" fmla="*/ 476120 w 1516644"/>
                  <a:gd name="connsiteY107" fmla="*/ 597037 h 1497725"/>
                  <a:gd name="connsiteX108" fmla="*/ 458231 w 1516644"/>
                  <a:gd name="connsiteY108" fmla="*/ 622738 h 1497725"/>
                  <a:gd name="connsiteX109" fmla="*/ 272190 w 1516644"/>
                  <a:gd name="connsiteY109" fmla="*/ 482812 h 1497725"/>
                  <a:gd name="connsiteX110" fmla="*/ 189187 w 1516644"/>
                  <a:gd name="connsiteY110" fmla="*/ 420702 h 1497725"/>
                  <a:gd name="connsiteX111" fmla="*/ 208506 w 1516644"/>
                  <a:gd name="connsiteY111" fmla="*/ 395715 h 1497725"/>
                  <a:gd name="connsiteX112" fmla="*/ 1322678 w 1516644"/>
                  <a:gd name="connsiteY112" fmla="*/ 383102 h 1497725"/>
                  <a:gd name="connsiteX113" fmla="*/ 1352682 w 1516644"/>
                  <a:gd name="connsiteY113" fmla="*/ 392369 h 1497725"/>
                  <a:gd name="connsiteX114" fmla="*/ 1246240 w 1516644"/>
                  <a:gd name="connsiteY114" fmla="*/ 763051 h 1497725"/>
                  <a:gd name="connsiteX115" fmla="*/ 1215521 w 1516644"/>
                  <a:gd name="connsiteY115" fmla="*/ 755923 h 1497725"/>
                  <a:gd name="connsiteX116" fmla="*/ 1322678 w 1516644"/>
                  <a:gd name="connsiteY116" fmla="*/ 383102 h 1497725"/>
                  <a:gd name="connsiteX117" fmla="*/ 1411158 w 1516644"/>
                  <a:gd name="connsiteY117" fmla="*/ 381526 h 1497725"/>
                  <a:gd name="connsiteX118" fmla="*/ 1507184 w 1516644"/>
                  <a:gd name="connsiteY118" fmla="*/ 659746 h 1497725"/>
                  <a:gd name="connsiteX119" fmla="*/ 1478520 w 1516644"/>
                  <a:gd name="connsiteY119" fmla="*/ 674765 h 1497725"/>
                  <a:gd name="connsiteX120" fmla="*/ 1381060 w 1516644"/>
                  <a:gd name="connsiteY120" fmla="*/ 391539 h 1497725"/>
                  <a:gd name="connsiteX121" fmla="*/ 1411158 w 1516644"/>
                  <a:gd name="connsiteY121" fmla="*/ 381526 h 1497725"/>
                  <a:gd name="connsiteX122" fmla="*/ 1011554 w 1516644"/>
                  <a:gd name="connsiteY122" fmla="*/ 316887 h 1497725"/>
                  <a:gd name="connsiteX123" fmla="*/ 1193450 w 1516644"/>
                  <a:gd name="connsiteY123" fmla="*/ 757939 h 1497725"/>
                  <a:gd name="connsiteX124" fmla="*/ 1164089 w 1516644"/>
                  <a:gd name="connsiteY124" fmla="*/ 769358 h 1497725"/>
                  <a:gd name="connsiteX125" fmla="*/ 1036618 w 1516644"/>
                  <a:gd name="connsiteY125" fmla="*/ 461050 h 1497725"/>
                  <a:gd name="connsiteX126" fmla="*/ 982192 w 1516644"/>
                  <a:gd name="connsiteY126" fmla="*/ 329020 h 1497725"/>
                  <a:gd name="connsiteX127" fmla="*/ 1011554 w 1516644"/>
                  <a:gd name="connsiteY127" fmla="*/ 316887 h 1497725"/>
                  <a:gd name="connsiteX128" fmla="*/ 883902 w 1516644"/>
                  <a:gd name="connsiteY128" fmla="*/ 279050 h 1497725"/>
                  <a:gd name="connsiteX129" fmla="*/ 901788 w 1516644"/>
                  <a:gd name="connsiteY129" fmla="*/ 305442 h 1497725"/>
                  <a:gd name="connsiteX130" fmla="*/ 574117 w 1516644"/>
                  <a:gd name="connsiteY130" fmla="*/ 616432 h 1497725"/>
                  <a:gd name="connsiteX131" fmla="*/ 553370 w 1516644"/>
                  <a:gd name="connsiteY131" fmla="*/ 592894 h 1497725"/>
                  <a:gd name="connsiteX132" fmla="*/ 883902 w 1516644"/>
                  <a:gd name="connsiteY132" fmla="*/ 279050 h 1497725"/>
                  <a:gd name="connsiteX133" fmla="*/ 501344 w 1516644"/>
                  <a:gd name="connsiteY133" fmla="*/ 277473 h 1497725"/>
                  <a:gd name="connsiteX134" fmla="*/ 520692 w 1516644"/>
                  <a:gd name="connsiteY134" fmla="*/ 280325 h 1497725"/>
                  <a:gd name="connsiteX135" fmla="*/ 532875 w 1516644"/>
                  <a:gd name="connsiteY135" fmla="*/ 278899 h 1497725"/>
                  <a:gd name="connsiteX136" fmla="*/ 532875 w 1516644"/>
                  <a:gd name="connsiteY136" fmla="*/ 583324 h 1497725"/>
                  <a:gd name="connsiteX137" fmla="*/ 517109 w 1516644"/>
                  <a:gd name="connsiteY137" fmla="*/ 581185 h 1497725"/>
                  <a:gd name="connsiteX138" fmla="*/ 501344 w 1516644"/>
                  <a:gd name="connsiteY138" fmla="*/ 583324 h 1497725"/>
                  <a:gd name="connsiteX139" fmla="*/ 501344 w 1516644"/>
                  <a:gd name="connsiteY139" fmla="*/ 277473 h 1497725"/>
                  <a:gd name="connsiteX140" fmla="*/ 1048408 w 1516644"/>
                  <a:gd name="connsiteY140" fmla="*/ 227024 h 1497725"/>
                  <a:gd name="connsiteX141" fmla="*/ 1275431 w 1516644"/>
                  <a:gd name="connsiteY141" fmla="*/ 263418 h 1497725"/>
                  <a:gd name="connsiteX142" fmla="*/ 1269026 w 1516644"/>
                  <a:gd name="connsiteY142" fmla="*/ 294816 h 1497725"/>
                  <a:gd name="connsiteX143" fmla="*/ 1049120 w 1516644"/>
                  <a:gd name="connsiteY143" fmla="*/ 259136 h 1497725"/>
                  <a:gd name="connsiteX144" fmla="*/ 1050543 w 1516644"/>
                  <a:gd name="connsiteY144" fmla="*/ 244864 h 1497725"/>
                  <a:gd name="connsiteX145" fmla="*/ 1048408 w 1516644"/>
                  <a:gd name="connsiteY145" fmla="*/ 227024 h 1497725"/>
                  <a:gd name="connsiteX146" fmla="*/ 552154 w 1516644"/>
                  <a:gd name="connsiteY146" fmla="*/ 61486 h 1497725"/>
                  <a:gd name="connsiteX147" fmla="*/ 581747 w 1516644"/>
                  <a:gd name="connsiteY147" fmla="*/ 72128 h 1497725"/>
                  <a:gd name="connsiteX148" fmla="*/ 576694 w 1516644"/>
                  <a:gd name="connsiteY148" fmla="*/ 89155 h 1497725"/>
                  <a:gd name="connsiteX149" fmla="*/ 552154 w 1516644"/>
                  <a:gd name="connsiteY149" fmla="*/ 160809 h 1497725"/>
                  <a:gd name="connsiteX150" fmla="*/ 521839 w 1516644"/>
                  <a:gd name="connsiteY150" fmla="*/ 153005 h 1497725"/>
                  <a:gd name="connsiteX151" fmla="*/ 552154 w 1516644"/>
                  <a:gd name="connsiteY151" fmla="*/ 61486 h 1497725"/>
                  <a:gd name="connsiteX152" fmla="*/ 1026661 w 1516644"/>
                  <a:gd name="connsiteY152" fmla="*/ 44144 h 1497725"/>
                  <a:gd name="connsiteX153" fmla="*/ 1297502 w 1516644"/>
                  <a:gd name="connsiteY153" fmla="*/ 229622 h 1497725"/>
                  <a:gd name="connsiteX154" fmla="*/ 1278971 w 1516644"/>
                  <a:gd name="connsiteY154" fmla="*/ 255403 h 1497725"/>
                  <a:gd name="connsiteX155" fmla="*/ 1007417 w 1516644"/>
                  <a:gd name="connsiteY155" fmla="*/ 69209 h 1497725"/>
                  <a:gd name="connsiteX156" fmla="*/ 1026661 w 1516644"/>
                  <a:gd name="connsiteY156" fmla="*/ 44144 h 1497725"/>
                  <a:gd name="connsiteX157" fmla="*/ 530014 w 1516644"/>
                  <a:gd name="connsiteY157" fmla="*/ 33107 h 1497725"/>
                  <a:gd name="connsiteX158" fmla="*/ 548639 w 1516644"/>
                  <a:gd name="connsiteY158" fmla="*/ 58129 h 1497725"/>
                  <a:gd name="connsiteX159" fmla="*/ 209812 w 1516644"/>
                  <a:gd name="connsiteY159" fmla="*/ 301196 h 1497725"/>
                  <a:gd name="connsiteX160" fmla="*/ 457664 w 1516644"/>
                  <a:gd name="connsiteY160" fmla="*/ 219697 h 1497725"/>
                  <a:gd name="connsiteX161" fmla="*/ 466976 w 1516644"/>
                  <a:gd name="connsiteY161" fmla="*/ 249723 h 1497725"/>
                  <a:gd name="connsiteX162" fmla="*/ 214826 w 1516644"/>
                  <a:gd name="connsiteY162" fmla="*/ 332652 h 1497725"/>
                  <a:gd name="connsiteX163" fmla="*/ 179726 w 1516644"/>
                  <a:gd name="connsiteY163" fmla="*/ 284039 h 1497725"/>
                  <a:gd name="connsiteX164" fmla="*/ 530014 w 1516644"/>
                  <a:gd name="connsiteY164" fmla="*/ 33107 h 1497725"/>
                  <a:gd name="connsiteX165" fmla="*/ 650512 w 1516644"/>
                  <a:gd name="connsiteY165" fmla="*/ 0 h 1497725"/>
                  <a:gd name="connsiteX166" fmla="*/ 905591 w 1516644"/>
                  <a:gd name="connsiteY166" fmla="*/ 5692 h 1497725"/>
                  <a:gd name="connsiteX167" fmla="*/ 904166 w 1516644"/>
                  <a:gd name="connsiteY167" fmla="*/ 18500 h 1497725"/>
                  <a:gd name="connsiteX168" fmla="*/ 919129 w 1516644"/>
                  <a:gd name="connsiteY168" fmla="*/ 59770 h 1497725"/>
                  <a:gd name="connsiteX169" fmla="*/ 589236 w 1516644"/>
                  <a:gd name="connsiteY169" fmla="*/ 202078 h 1497725"/>
                  <a:gd name="connsiteX170" fmla="*/ 882791 w 1516644"/>
                  <a:gd name="connsiteY170" fmla="*/ 210617 h 1497725"/>
                  <a:gd name="connsiteX171" fmla="*/ 876378 w 1516644"/>
                  <a:gd name="connsiteY171" fmla="*/ 241213 h 1497725"/>
                  <a:gd name="connsiteX172" fmla="*/ 582111 w 1516644"/>
                  <a:gd name="connsiteY172" fmla="*/ 233386 h 1497725"/>
                  <a:gd name="connsiteX173" fmla="*/ 584961 w 1516644"/>
                  <a:gd name="connsiteY173" fmla="*/ 216309 h 1497725"/>
                  <a:gd name="connsiteX174" fmla="*/ 570711 w 1516644"/>
                  <a:gd name="connsiteY174" fmla="*/ 176463 h 1497725"/>
                  <a:gd name="connsiteX175" fmla="*/ 894191 w 1516644"/>
                  <a:gd name="connsiteY175" fmla="*/ 36289 h 1497725"/>
                  <a:gd name="connsiteX176" fmla="*/ 647662 w 1516644"/>
                  <a:gd name="connsiteY176" fmla="*/ 31308 h 1497725"/>
                  <a:gd name="connsiteX177" fmla="*/ 651225 w 1516644"/>
                  <a:gd name="connsiteY177" fmla="*/ 8538 h 1497725"/>
                  <a:gd name="connsiteX178" fmla="*/ 650512 w 1516644"/>
                  <a:gd name="connsiteY178" fmla="*/ 0 h 149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516644" h="1497725">
                    <a:moveTo>
                      <a:pt x="1204823" y="1308538"/>
                    </a:moveTo>
                    <a:cubicBezTo>
                      <a:pt x="1206250" y="1320004"/>
                      <a:pt x="1209816" y="1330037"/>
                      <a:pt x="1215522" y="1338636"/>
                    </a:cubicBezTo>
                    <a:cubicBezTo>
                      <a:pt x="1215522" y="1338636"/>
                      <a:pt x="1215522" y="1338636"/>
                      <a:pt x="826790" y="1497725"/>
                    </a:cubicBezTo>
                    <a:cubicBezTo>
                      <a:pt x="826790" y="1486259"/>
                      <a:pt x="823937" y="1476227"/>
                      <a:pt x="818231" y="1466911"/>
                    </a:cubicBezTo>
                    <a:close/>
                    <a:moveTo>
                      <a:pt x="754698" y="1305386"/>
                    </a:moveTo>
                    <a:cubicBezTo>
                      <a:pt x="754698" y="1305386"/>
                      <a:pt x="754698" y="1305386"/>
                      <a:pt x="770935" y="1435810"/>
                    </a:cubicBezTo>
                    <a:cubicBezTo>
                      <a:pt x="768111" y="1435810"/>
                      <a:pt x="765287" y="1435093"/>
                      <a:pt x="763170" y="1435093"/>
                    </a:cubicBezTo>
                    <a:cubicBezTo>
                      <a:pt x="754698" y="1435093"/>
                      <a:pt x="746933" y="1436527"/>
                      <a:pt x="739874" y="1439393"/>
                    </a:cubicBezTo>
                    <a:cubicBezTo>
                      <a:pt x="739874" y="1439393"/>
                      <a:pt x="739874" y="1439393"/>
                      <a:pt x="723638" y="1307536"/>
                    </a:cubicBezTo>
                    <a:cubicBezTo>
                      <a:pt x="726461" y="1307536"/>
                      <a:pt x="729285" y="1307536"/>
                      <a:pt x="732109" y="1307536"/>
                    </a:cubicBezTo>
                    <a:cubicBezTo>
                      <a:pt x="739874" y="1307536"/>
                      <a:pt x="746933" y="1306819"/>
                      <a:pt x="754698" y="1305386"/>
                    </a:cubicBezTo>
                    <a:close/>
                    <a:moveTo>
                      <a:pt x="232705" y="1221828"/>
                    </a:moveTo>
                    <a:cubicBezTo>
                      <a:pt x="232705" y="1221828"/>
                      <a:pt x="232705" y="1221828"/>
                      <a:pt x="711026" y="1460617"/>
                    </a:cubicBezTo>
                    <a:cubicBezTo>
                      <a:pt x="705314" y="1469171"/>
                      <a:pt x="701031" y="1479150"/>
                      <a:pt x="699603" y="1489842"/>
                    </a:cubicBezTo>
                    <a:cubicBezTo>
                      <a:pt x="699603" y="1489842"/>
                      <a:pt x="699603" y="1489842"/>
                      <a:pt x="219141" y="1250340"/>
                    </a:cubicBezTo>
                    <a:cubicBezTo>
                      <a:pt x="225566" y="1241787"/>
                      <a:pt x="229849" y="1232520"/>
                      <a:pt x="232705" y="1221828"/>
                    </a:cubicBezTo>
                    <a:close/>
                    <a:moveTo>
                      <a:pt x="836273" y="1215522"/>
                    </a:moveTo>
                    <a:cubicBezTo>
                      <a:pt x="836273" y="1215522"/>
                      <a:pt x="836273" y="1215522"/>
                      <a:pt x="1213946" y="1271670"/>
                    </a:cubicBezTo>
                    <a:cubicBezTo>
                      <a:pt x="1208224" y="1280910"/>
                      <a:pt x="1205363" y="1291571"/>
                      <a:pt x="1205363" y="1302232"/>
                    </a:cubicBezTo>
                    <a:cubicBezTo>
                      <a:pt x="1205363" y="1302232"/>
                      <a:pt x="1205363" y="1302232"/>
                      <a:pt x="827690" y="1246084"/>
                    </a:cubicBezTo>
                    <a:cubicBezTo>
                      <a:pt x="831981" y="1236134"/>
                      <a:pt x="834843" y="1226183"/>
                      <a:pt x="836273" y="1215522"/>
                    </a:cubicBezTo>
                    <a:close/>
                    <a:moveTo>
                      <a:pt x="611424" y="1120928"/>
                    </a:moveTo>
                    <a:cubicBezTo>
                      <a:pt x="611424" y="1120928"/>
                      <a:pt x="611424" y="1120928"/>
                      <a:pt x="644810" y="1142723"/>
                    </a:cubicBezTo>
                    <a:cubicBezTo>
                      <a:pt x="638550" y="1151863"/>
                      <a:pt x="633681" y="1161706"/>
                      <a:pt x="630203" y="1172955"/>
                    </a:cubicBezTo>
                    <a:lnTo>
                      <a:pt x="597513" y="1152566"/>
                    </a:lnTo>
                    <a:cubicBezTo>
                      <a:pt x="604468" y="1143426"/>
                      <a:pt x="609337" y="1132880"/>
                      <a:pt x="611424" y="1120928"/>
                    </a:cubicBezTo>
                    <a:close/>
                    <a:moveTo>
                      <a:pt x="484598" y="1113046"/>
                    </a:moveTo>
                    <a:cubicBezTo>
                      <a:pt x="484598" y="1124469"/>
                      <a:pt x="487458" y="1134463"/>
                      <a:pt x="493179" y="1143744"/>
                    </a:cubicBezTo>
                    <a:cubicBezTo>
                      <a:pt x="493179" y="1143744"/>
                      <a:pt x="493179" y="1143744"/>
                      <a:pt x="435973" y="1155167"/>
                    </a:cubicBezTo>
                    <a:cubicBezTo>
                      <a:pt x="435973" y="1155167"/>
                      <a:pt x="435973" y="1155167"/>
                      <a:pt x="285091" y="1185151"/>
                    </a:cubicBezTo>
                    <a:cubicBezTo>
                      <a:pt x="285091" y="1185151"/>
                      <a:pt x="285091" y="1185151"/>
                      <a:pt x="560396" y="1193004"/>
                    </a:cubicBezTo>
                    <a:cubicBezTo>
                      <a:pt x="560396" y="1193004"/>
                      <a:pt x="560396" y="1193004"/>
                      <a:pt x="626899" y="1195146"/>
                    </a:cubicBezTo>
                    <a:cubicBezTo>
                      <a:pt x="626183" y="1197288"/>
                      <a:pt x="626183" y="1200143"/>
                      <a:pt x="626183" y="1202285"/>
                    </a:cubicBezTo>
                    <a:cubicBezTo>
                      <a:pt x="626183" y="1210852"/>
                      <a:pt x="627614" y="1218705"/>
                      <a:pt x="629044" y="1226558"/>
                    </a:cubicBezTo>
                    <a:cubicBezTo>
                      <a:pt x="629044" y="1226558"/>
                      <a:pt x="629044" y="1226558"/>
                      <a:pt x="234320" y="1214422"/>
                    </a:cubicBezTo>
                    <a:cubicBezTo>
                      <a:pt x="235035" y="1209424"/>
                      <a:pt x="235751" y="1204427"/>
                      <a:pt x="235751" y="1198716"/>
                    </a:cubicBezTo>
                    <a:cubicBezTo>
                      <a:pt x="235751" y="1186579"/>
                      <a:pt x="232890" y="1174443"/>
                      <a:pt x="228600" y="1164448"/>
                    </a:cubicBezTo>
                    <a:cubicBezTo>
                      <a:pt x="228600" y="1164448"/>
                      <a:pt x="228600" y="1164448"/>
                      <a:pt x="484598" y="1113046"/>
                    </a:cubicBezTo>
                    <a:close/>
                    <a:moveTo>
                      <a:pt x="1398975" y="1102010"/>
                    </a:moveTo>
                    <a:cubicBezTo>
                      <a:pt x="1403991" y="1111351"/>
                      <a:pt x="1411157" y="1119973"/>
                      <a:pt x="1420473" y="1125721"/>
                    </a:cubicBezTo>
                    <a:cubicBezTo>
                      <a:pt x="1420473" y="1125721"/>
                      <a:pt x="1420473" y="1125721"/>
                      <a:pt x="1318714" y="1264395"/>
                    </a:cubicBezTo>
                    <a:cubicBezTo>
                      <a:pt x="1312265" y="1256491"/>
                      <a:pt x="1303665" y="1249306"/>
                      <a:pt x="1294349" y="1244995"/>
                    </a:cubicBezTo>
                    <a:cubicBezTo>
                      <a:pt x="1294349" y="1244995"/>
                      <a:pt x="1294349" y="1244995"/>
                      <a:pt x="1398975" y="1102010"/>
                    </a:cubicBezTo>
                    <a:close/>
                    <a:moveTo>
                      <a:pt x="1391827" y="1067326"/>
                    </a:moveTo>
                    <a:cubicBezTo>
                      <a:pt x="1391827" y="1069465"/>
                      <a:pt x="1391827" y="1071604"/>
                      <a:pt x="1391827" y="1073743"/>
                    </a:cubicBezTo>
                    <a:cubicBezTo>
                      <a:pt x="1391827" y="1082299"/>
                      <a:pt x="1393256" y="1090856"/>
                      <a:pt x="1396827" y="1098699"/>
                    </a:cubicBezTo>
                    <a:cubicBezTo>
                      <a:pt x="1396827" y="1098699"/>
                      <a:pt x="1396827" y="1098699"/>
                      <a:pt x="836854" y="1209216"/>
                    </a:cubicBezTo>
                    <a:cubicBezTo>
                      <a:pt x="837568" y="1207077"/>
                      <a:pt x="837568" y="1204938"/>
                      <a:pt x="837568" y="1202799"/>
                    </a:cubicBezTo>
                    <a:cubicBezTo>
                      <a:pt x="837568" y="1194243"/>
                      <a:pt x="836140" y="1185687"/>
                      <a:pt x="833997" y="1177843"/>
                    </a:cubicBezTo>
                    <a:cubicBezTo>
                      <a:pt x="833997" y="1177843"/>
                      <a:pt x="833997" y="1177843"/>
                      <a:pt x="1391827" y="1067326"/>
                    </a:cubicBezTo>
                    <a:close/>
                    <a:moveTo>
                      <a:pt x="1282680" y="889176"/>
                    </a:moveTo>
                    <a:cubicBezTo>
                      <a:pt x="1282680" y="889176"/>
                      <a:pt x="1282680" y="889176"/>
                      <a:pt x="1323413" y="931382"/>
                    </a:cubicBezTo>
                    <a:cubicBezTo>
                      <a:pt x="1323413" y="931382"/>
                      <a:pt x="1323413" y="931382"/>
                      <a:pt x="1414168" y="1025808"/>
                    </a:cubicBezTo>
                    <a:cubicBezTo>
                      <a:pt x="1405593" y="1032247"/>
                      <a:pt x="1399876" y="1041546"/>
                      <a:pt x="1395588" y="1051561"/>
                    </a:cubicBezTo>
                    <a:cubicBezTo>
                      <a:pt x="1395588" y="1051561"/>
                      <a:pt x="1395588" y="1051561"/>
                      <a:pt x="1379152" y="1034393"/>
                    </a:cubicBezTo>
                    <a:cubicBezTo>
                      <a:pt x="1379152" y="1034393"/>
                      <a:pt x="1379152" y="1034393"/>
                      <a:pt x="1261242" y="912067"/>
                    </a:cubicBezTo>
                    <a:cubicBezTo>
                      <a:pt x="1269818" y="905629"/>
                      <a:pt x="1276964" y="898476"/>
                      <a:pt x="1282680" y="889176"/>
                    </a:cubicBezTo>
                    <a:close/>
                    <a:moveTo>
                      <a:pt x="1129929" y="876563"/>
                    </a:moveTo>
                    <a:cubicBezTo>
                      <a:pt x="1134201" y="886585"/>
                      <a:pt x="1140610" y="895176"/>
                      <a:pt x="1147731" y="903051"/>
                    </a:cubicBezTo>
                    <a:lnTo>
                      <a:pt x="826574" y="1157189"/>
                    </a:lnTo>
                    <a:cubicBezTo>
                      <a:pt x="821590" y="1147167"/>
                      <a:pt x="815893" y="1138576"/>
                      <a:pt x="808772" y="1130701"/>
                    </a:cubicBezTo>
                    <a:cubicBezTo>
                      <a:pt x="808772" y="1130701"/>
                      <a:pt x="808772" y="1130701"/>
                      <a:pt x="1129929" y="876563"/>
                    </a:cubicBezTo>
                    <a:close/>
                    <a:moveTo>
                      <a:pt x="33922" y="793005"/>
                    </a:moveTo>
                    <a:lnTo>
                      <a:pt x="137161" y="1114069"/>
                    </a:lnTo>
                    <a:cubicBezTo>
                      <a:pt x="126481" y="1115499"/>
                      <a:pt x="116513" y="1119075"/>
                      <a:pt x="107257" y="1124080"/>
                    </a:cubicBezTo>
                    <a:cubicBezTo>
                      <a:pt x="107257" y="1124080"/>
                      <a:pt x="107257" y="1124080"/>
                      <a:pt x="4730" y="805161"/>
                    </a:cubicBezTo>
                    <a:cubicBezTo>
                      <a:pt x="15410" y="803731"/>
                      <a:pt x="25378" y="799441"/>
                      <a:pt x="33922" y="793005"/>
                    </a:cubicBezTo>
                    <a:close/>
                    <a:moveTo>
                      <a:pt x="1486759" y="774087"/>
                    </a:moveTo>
                    <a:cubicBezTo>
                      <a:pt x="1495298" y="779806"/>
                      <a:pt x="1505259" y="783381"/>
                      <a:pt x="1516644" y="784096"/>
                    </a:cubicBezTo>
                    <a:cubicBezTo>
                      <a:pt x="1516644" y="784096"/>
                      <a:pt x="1516644" y="784096"/>
                      <a:pt x="1468259" y="1010717"/>
                    </a:cubicBezTo>
                    <a:cubicBezTo>
                      <a:pt x="1463990" y="1010002"/>
                      <a:pt x="1459720" y="1009288"/>
                      <a:pt x="1455451" y="1009288"/>
                    </a:cubicBezTo>
                    <a:cubicBezTo>
                      <a:pt x="1448336" y="1009288"/>
                      <a:pt x="1441932" y="1010717"/>
                      <a:pt x="1436239" y="1012147"/>
                    </a:cubicBezTo>
                    <a:cubicBezTo>
                      <a:pt x="1436239" y="1012147"/>
                      <a:pt x="1436239" y="1012147"/>
                      <a:pt x="1486759" y="774087"/>
                    </a:cubicBezTo>
                    <a:close/>
                    <a:moveTo>
                      <a:pt x="52851" y="759899"/>
                    </a:moveTo>
                    <a:cubicBezTo>
                      <a:pt x="52851" y="759899"/>
                      <a:pt x="52851" y="759899"/>
                      <a:pt x="513957" y="1058201"/>
                    </a:cubicBezTo>
                    <a:cubicBezTo>
                      <a:pt x="503948" y="1064639"/>
                      <a:pt x="496084" y="1073224"/>
                      <a:pt x="490365" y="1084669"/>
                    </a:cubicBezTo>
                    <a:lnTo>
                      <a:pt x="37838" y="787798"/>
                    </a:lnTo>
                    <a:cubicBezTo>
                      <a:pt x="45702" y="779929"/>
                      <a:pt x="50706" y="770629"/>
                      <a:pt x="52851" y="759899"/>
                    </a:cubicBezTo>
                    <a:close/>
                    <a:moveTo>
                      <a:pt x="1458598" y="728368"/>
                    </a:moveTo>
                    <a:cubicBezTo>
                      <a:pt x="1459315" y="739101"/>
                      <a:pt x="1463614" y="749118"/>
                      <a:pt x="1469347" y="757704"/>
                    </a:cubicBezTo>
                    <a:cubicBezTo>
                      <a:pt x="1469347" y="757704"/>
                      <a:pt x="1469347" y="757704"/>
                      <a:pt x="1293059" y="821385"/>
                    </a:cubicBezTo>
                    <a:cubicBezTo>
                      <a:pt x="1290910" y="810652"/>
                      <a:pt x="1285893" y="801351"/>
                      <a:pt x="1280160" y="792765"/>
                    </a:cubicBezTo>
                    <a:cubicBezTo>
                      <a:pt x="1280160" y="792765"/>
                      <a:pt x="1280160" y="792765"/>
                      <a:pt x="1458598" y="728368"/>
                    </a:cubicBezTo>
                    <a:close/>
                    <a:moveTo>
                      <a:pt x="551912" y="698412"/>
                    </a:moveTo>
                    <a:cubicBezTo>
                      <a:pt x="551912" y="698412"/>
                      <a:pt x="551912" y="698412"/>
                      <a:pt x="628529" y="904018"/>
                    </a:cubicBezTo>
                    <a:cubicBezTo>
                      <a:pt x="628529" y="904018"/>
                      <a:pt x="628529" y="904018"/>
                      <a:pt x="701565" y="1101772"/>
                    </a:cubicBezTo>
                    <a:cubicBezTo>
                      <a:pt x="691540" y="1104627"/>
                      <a:pt x="682232" y="1108911"/>
                      <a:pt x="672923" y="1114622"/>
                    </a:cubicBezTo>
                    <a:cubicBezTo>
                      <a:pt x="672923" y="1114622"/>
                      <a:pt x="672923" y="1114622"/>
                      <a:pt x="521839" y="708407"/>
                    </a:cubicBezTo>
                    <a:cubicBezTo>
                      <a:pt x="533295" y="707693"/>
                      <a:pt x="543320" y="704123"/>
                      <a:pt x="551912" y="698412"/>
                    </a:cubicBezTo>
                    <a:close/>
                    <a:moveTo>
                      <a:pt x="580726" y="649540"/>
                    </a:moveTo>
                    <a:cubicBezTo>
                      <a:pt x="580726" y="649540"/>
                      <a:pt x="580726" y="649540"/>
                      <a:pt x="1135117" y="799313"/>
                    </a:cubicBezTo>
                    <a:cubicBezTo>
                      <a:pt x="1129394" y="808629"/>
                      <a:pt x="1125818" y="819378"/>
                      <a:pt x="1124387" y="830844"/>
                    </a:cubicBezTo>
                    <a:cubicBezTo>
                      <a:pt x="1124387" y="830844"/>
                      <a:pt x="1124387" y="830844"/>
                      <a:pt x="570711" y="679638"/>
                    </a:cubicBezTo>
                    <a:cubicBezTo>
                      <a:pt x="576433" y="670322"/>
                      <a:pt x="580010" y="660289"/>
                      <a:pt x="580726" y="649540"/>
                    </a:cubicBezTo>
                    <a:close/>
                    <a:moveTo>
                      <a:pt x="454766" y="644810"/>
                    </a:moveTo>
                    <a:cubicBezTo>
                      <a:pt x="454766" y="644810"/>
                      <a:pt x="454766" y="644810"/>
                      <a:pt x="454766" y="645519"/>
                    </a:cubicBezTo>
                    <a:cubicBezTo>
                      <a:pt x="454766" y="656153"/>
                      <a:pt x="457632" y="666078"/>
                      <a:pt x="461930" y="674585"/>
                    </a:cubicBezTo>
                    <a:cubicBezTo>
                      <a:pt x="461930" y="674585"/>
                      <a:pt x="461930" y="674585"/>
                      <a:pt x="53600" y="750440"/>
                    </a:cubicBezTo>
                    <a:cubicBezTo>
                      <a:pt x="53600" y="749731"/>
                      <a:pt x="53600" y="749731"/>
                      <a:pt x="53600" y="749022"/>
                    </a:cubicBezTo>
                    <a:cubicBezTo>
                      <a:pt x="53600" y="738388"/>
                      <a:pt x="50734" y="728463"/>
                      <a:pt x="45720" y="720665"/>
                    </a:cubicBezTo>
                    <a:cubicBezTo>
                      <a:pt x="45720" y="720665"/>
                      <a:pt x="45720" y="720665"/>
                      <a:pt x="454766" y="644810"/>
                    </a:cubicBezTo>
                    <a:close/>
                    <a:moveTo>
                      <a:pt x="79516" y="424092"/>
                    </a:moveTo>
                    <a:cubicBezTo>
                      <a:pt x="87326" y="430552"/>
                      <a:pt x="97265" y="435576"/>
                      <a:pt x="107205" y="438446"/>
                    </a:cubicBezTo>
                    <a:lnTo>
                      <a:pt x="29818" y="704718"/>
                    </a:lnTo>
                    <a:cubicBezTo>
                      <a:pt x="21299" y="698259"/>
                      <a:pt x="11359" y="694670"/>
                      <a:pt x="0" y="694670"/>
                    </a:cubicBezTo>
                    <a:cubicBezTo>
                      <a:pt x="0" y="694670"/>
                      <a:pt x="0" y="694670"/>
                      <a:pt x="79516" y="424092"/>
                    </a:cubicBezTo>
                    <a:close/>
                    <a:moveTo>
                      <a:pt x="208506" y="395715"/>
                    </a:moveTo>
                    <a:cubicBezTo>
                      <a:pt x="208506" y="395715"/>
                      <a:pt x="208506" y="395715"/>
                      <a:pt x="476120" y="597037"/>
                    </a:cubicBezTo>
                    <a:cubicBezTo>
                      <a:pt x="468249" y="604177"/>
                      <a:pt x="461809" y="612743"/>
                      <a:pt x="458231" y="622738"/>
                    </a:cubicBezTo>
                    <a:cubicBezTo>
                      <a:pt x="458231" y="622738"/>
                      <a:pt x="458231" y="622738"/>
                      <a:pt x="272190" y="482812"/>
                    </a:cubicBezTo>
                    <a:cubicBezTo>
                      <a:pt x="272190" y="482812"/>
                      <a:pt x="272190" y="482812"/>
                      <a:pt x="189187" y="420702"/>
                    </a:cubicBezTo>
                    <a:cubicBezTo>
                      <a:pt x="197058" y="413563"/>
                      <a:pt x="203498" y="404996"/>
                      <a:pt x="208506" y="395715"/>
                    </a:cubicBezTo>
                    <a:close/>
                    <a:moveTo>
                      <a:pt x="1322678" y="383102"/>
                    </a:moveTo>
                    <a:cubicBezTo>
                      <a:pt x="1331965" y="388092"/>
                      <a:pt x="1341967" y="390943"/>
                      <a:pt x="1352682" y="392369"/>
                    </a:cubicBezTo>
                    <a:cubicBezTo>
                      <a:pt x="1352682" y="392369"/>
                      <a:pt x="1352682" y="392369"/>
                      <a:pt x="1246240" y="763051"/>
                    </a:cubicBezTo>
                    <a:cubicBezTo>
                      <a:pt x="1236953" y="758774"/>
                      <a:pt x="1226237" y="756635"/>
                      <a:pt x="1215521" y="755923"/>
                    </a:cubicBezTo>
                    <a:cubicBezTo>
                      <a:pt x="1215521" y="755923"/>
                      <a:pt x="1215521" y="755923"/>
                      <a:pt x="1322678" y="383102"/>
                    </a:cubicBezTo>
                    <a:close/>
                    <a:moveTo>
                      <a:pt x="1411158" y="381526"/>
                    </a:moveTo>
                    <a:cubicBezTo>
                      <a:pt x="1411158" y="381526"/>
                      <a:pt x="1411158" y="381526"/>
                      <a:pt x="1507184" y="659746"/>
                    </a:cubicBezTo>
                    <a:cubicBezTo>
                      <a:pt x="1496435" y="661891"/>
                      <a:pt x="1486402" y="667613"/>
                      <a:pt x="1478520" y="674765"/>
                    </a:cubicBezTo>
                    <a:cubicBezTo>
                      <a:pt x="1478520" y="674765"/>
                      <a:pt x="1478520" y="674765"/>
                      <a:pt x="1381060" y="391539"/>
                    </a:cubicBezTo>
                    <a:cubicBezTo>
                      <a:pt x="1391809" y="389394"/>
                      <a:pt x="1401842" y="385817"/>
                      <a:pt x="1411158" y="381526"/>
                    </a:cubicBezTo>
                    <a:close/>
                    <a:moveTo>
                      <a:pt x="1011554" y="316887"/>
                    </a:moveTo>
                    <a:cubicBezTo>
                      <a:pt x="1011554" y="316887"/>
                      <a:pt x="1011554" y="316887"/>
                      <a:pt x="1193450" y="757939"/>
                    </a:cubicBezTo>
                    <a:cubicBezTo>
                      <a:pt x="1182708" y="759367"/>
                      <a:pt x="1172683" y="763649"/>
                      <a:pt x="1164089" y="769358"/>
                    </a:cubicBezTo>
                    <a:lnTo>
                      <a:pt x="1036618" y="461050"/>
                    </a:lnTo>
                    <a:cubicBezTo>
                      <a:pt x="1036618" y="461050"/>
                      <a:pt x="1036618" y="461050"/>
                      <a:pt x="982192" y="329020"/>
                    </a:cubicBezTo>
                    <a:cubicBezTo>
                      <a:pt x="992934" y="326879"/>
                      <a:pt x="1002959" y="322597"/>
                      <a:pt x="1011554" y="316887"/>
                    </a:cubicBezTo>
                    <a:close/>
                    <a:moveTo>
                      <a:pt x="883902" y="279050"/>
                    </a:moveTo>
                    <a:cubicBezTo>
                      <a:pt x="888194" y="289036"/>
                      <a:pt x="894633" y="297595"/>
                      <a:pt x="901788" y="305442"/>
                    </a:cubicBezTo>
                    <a:lnTo>
                      <a:pt x="574117" y="616432"/>
                    </a:lnTo>
                    <a:cubicBezTo>
                      <a:pt x="569109" y="607159"/>
                      <a:pt x="561955" y="599313"/>
                      <a:pt x="553370" y="592894"/>
                    </a:cubicBezTo>
                    <a:cubicBezTo>
                      <a:pt x="553370" y="592894"/>
                      <a:pt x="553370" y="592894"/>
                      <a:pt x="883902" y="279050"/>
                    </a:cubicBezTo>
                    <a:close/>
                    <a:moveTo>
                      <a:pt x="501344" y="277473"/>
                    </a:moveTo>
                    <a:cubicBezTo>
                      <a:pt x="507077" y="278899"/>
                      <a:pt x="513526" y="280325"/>
                      <a:pt x="520692" y="280325"/>
                    </a:cubicBezTo>
                    <a:cubicBezTo>
                      <a:pt x="524275" y="280325"/>
                      <a:pt x="528575" y="279612"/>
                      <a:pt x="532875" y="278899"/>
                    </a:cubicBezTo>
                    <a:cubicBezTo>
                      <a:pt x="532875" y="278899"/>
                      <a:pt x="532875" y="278899"/>
                      <a:pt x="532875" y="583324"/>
                    </a:cubicBezTo>
                    <a:cubicBezTo>
                      <a:pt x="527858" y="581898"/>
                      <a:pt x="522126" y="581185"/>
                      <a:pt x="517109" y="581185"/>
                    </a:cubicBezTo>
                    <a:cubicBezTo>
                      <a:pt x="511376" y="581185"/>
                      <a:pt x="506360" y="581898"/>
                      <a:pt x="501344" y="583324"/>
                    </a:cubicBezTo>
                    <a:cubicBezTo>
                      <a:pt x="501344" y="583324"/>
                      <a:pt x="501344" y="583324"/>
                      <a:pt x="501344" y="277473"/>
                    </a:cubicBezTo>
                    <a:close/>
                    <a:moveTo>
                      <a:pt x="1048408" y="227024"/>
                    </a:moveTo>
                    <a:cubicBezTo>
                      <a:pt x="1048408" y="227024"/>
                      <a:pt x="1048408" y="227024"/>
                      <a:pt x="1275431" y="263418"/>
                    </a:cubicBezTo>
                    <a:cubicBezTo>
                      <a:pt x="1271873" y="273408"/>
                      <a:pt x="1269738" y="284112"/>
                      <a:pt x="1269026" y="294816"/>
                    </a:cubicBezTo>
                    <a:lnTo>
                      <a:pt x="1049120" y="259136"/>
                    </a:lnTo>
                    <a:cubicBezTo>
                      <a:pt x="1049832" y="254141"/>
                      <a:pt x="1050543" y="249146"/>
                      <a:pt x="1050543" y="244864"/>
                    </a:cubicBezTo>
                    <a:cubicBezTo>
                      <a:pt x="1050543" y="238442"/>
                      <a:pt x="1049832" y="232733"/>
                      <a:pt x="1048408" y="227024"/>
                    </a:cubicBezTo>
                    <a:close/>
                    <a:moveTo>
                      <a:pt x="552154" y="61486"/>
                    </a:moveTo>
                    <a:cubicBezTo>
                      <a:pt x="560815" y="67162"/>
                      <a:pt x="570920" y="70709"/>
                      <a:pt x="581747" y="72128"/>
                    </a:cubicBezTo>
                    <a:cubicBezTo>
                      <a:pt x="581747" y="72128"/>
                      <a:pt x="581747" y="72128"/>
                      <a:pt x="576694" y="89155"/>
                    </a:cubicBezTo>
                    <a:cubicBezTo>
                      <a:pt x="576694" y="89155"/>
                      <a:pt x="576694" y="89155"/>
                      <a:pt x="552154" y="160809"/>
                    </a:cubicBezTo>
                    <a:cubicBezTo>
                      <a:pt x="543492" y="155843"/>
                      <a:pt x="532665" y="153005"/>
                      <a:pt x="521839" y="153005"/>
                    </a:cubicBezTo>
                    <a:cubicBezTo>
                      <a:pt x="521839" y="153005"/>
                      <a:pt x="521839" y="153005"/>
                      <a:pt x="552154" y="61486"/>
                    </a:cubicBezTo>
                    <a:close/>
                    <a:moveTo>
                      <a:pt x="1026661" y="44144"/>
                    </a:moveTo>
                    <a:cubicBezTo>
                      <a:pt x="1026661" y="44144"/>
                      <a:pt x="1026661" y="44144"/>
                      <a:pt x="1297502" y="229622"/>
                    </a:cubicBezTo>
                    <a:cubicBezTo>
                      <a:pt x="1290375" y="237500"/>
                      <a:pt x="1283960" y="246093"/>
                      <a:pt x="1278971" y="255403"/>
                    </a:cubicBezTo>
                    <a:cubicBezTo>
                      <a:pt x="1278971" y="255403"/>
                      <a:pt x="1278971" y="255403"/>
                      <a:pt x="1007417" y="69209"/>
                    </a:cubicBezTo>
                    <a:cubicBezTo>
                      <a:pt x="1015970" y="62764"/>
                      <a:pt x="1022385" y="54170"/>
                      <a:pt x="1026661" y="44144"/>
                    </a:cubicBezTo>
                    <a:close/>
                    <a:moveTo>
                      <a:pt x="530014" y="33107"/>
                    </a:moveTo>
                    <a:cubicBezTo>
                      <a:pt x="533596" y="43116"/>
                      <a:pt x="540759" y="51695"/>
                      <a:pt x="548639" y="58129"/>
                    </a:cubicBezTo>
                    <a:cubicBezTo>
                      <a:pt x="548639" y="58129"/>
                      <a:pt x="548639" y="58129"/>
                      <a:pt x="209812" y="301196"/>
                    </a:cubicBezTo>
                    <a:cubicBezTo>
                      <a:pt x="209812" y="301196"/>
                      <a:pt x="209812" y="301196"/>
                      <a:pt x="457664" y="219697"/>
                    </a:cubicBezTo>
                    <a:cubicBezTo>
                      <a:pt x="458380" y="230421"/>
                      <a:pt x="461246" y="241144"/>
                      <a:pt x="466976" y="249723"/>
                    </a:cubicBezTo>
                    <a:cubicBezTo>
                      <a:pt x="466976" y="249723"/>
                      <a:pt x="466976" y="249723"/>
                      <a:pt x="214826" y="332652"/>
                    </a:cubicBezTo>
                    <a:cubicBezTo>
                      <a:pt x="209096" y="312635"/>
                      <a:pt x="196201" y="295477"/>
                      <a:pt x="179726" y="284039"/>
                    </a:cubicBezTo>
                    <a:cubicBezTo>
                      <a:pt x="179726" y="284039"/>
                      <a:pt x="179726" y="284039"/>
                      <a:pt x="530014" y="33107"/>
                    </a:cubicBezTo>
                    <a:close/>
                    <a:moveTo>
                      <a:pt x="650512" y="0"/>
                    </a:moveTo>
                    <a:cubicBezTo>
                      <a:pt x="650512" y="0"/>
                      <a:pt x="650512" y="0"/>
                      <a:pt x="905591" y="5692"/>
                    </a:cubicBezTo>
                    <a:cubicBezTo>
                      <a:pt x="904879" y="9961"/>
                      <a:pt x="904166" y="14231"/>
                      <a:pt x="904166" y="18500"/>
                    </a:cubicBezTo>
                    <a:cubicBezTo>
                      <a:pt x="904166" y="34154"/>
                      <a:pt x="909866" y="49097"/>
                      <a:pt x="919129" y="59770"/>
                    </a:cubicBezTo>
                    <a:cubicBezTo>
                      <a:pt x="919129" y="59770"/>
                      <a:pt x="919129" y="59770"/>
                      <a:pt x="589236" y="202078"/>
                    </a:cubicBezTo>
                    <a:cubicBezTo>
                      <a:pt x="589236" y="202078"/>
                      <a:pt x="589236" y="202078"/>
                      <a:pt x="882791" y="210617"/>
                    </a:cubicBezTo>
                    <a:cubicBezTo>
                      <a:pt x="879228" y="219867"/>
                      <a:pt x="876378" y="230540"/>
                      <a:pt x="876378" y="241213"/>
                    </a:cubicBezTo>
                    <a:cubicBezTo>
                      <a:pt x="876378" y="241213"/>
                      <a:pt x="876378" y="241213"/>
                      <a:pt x="582111" y="233386"/>
                    </a:cubicBezTo>
                    <a:cubicBezTo>
                      <a:pt x="584248" y="227694"/>
                      <a:pt x="584961" y="222001"/>
                      <a:pt x="584961" y="216309"/>
                    </a:cubicBezTo>
                    <a:cubicBezTo>
                      <a:pt x="584961" y="201367"/>
                      <a:pt x="579261" y="187136"/>
                      <a:pt x="570711" y="176463"/>
                    </a:cubicBezTo>
                    <a:cubicBezTo>
                      <a:pt x="570711" y="176463"/>
                      <a:pt x="570711" y="176463"/>
                      <a:pt x="894191" y="36289"/>
                    </a:cubicBezTo>
                    <a:lnTo>
                      <a:pt x="647662" y="31308"/>
                    </a:lnTo>
                    <a:cubicBezTo>
                      <a:pt x="649800" y="24192"/>
                      <a:pt x="651225" y="16365"/>
                      <a:pt x="651225" y="8538"/>
                    </a:cubicBezTo>
                    <a:cubicBezTo>
                      <a:pt x="651225" y="5692"/>
                      <a:pt x="651225" y="2846"/>
                      <a:pt x="65051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8" name="Freeform 27"/>
              <p:cNvSpPr>
                <a:spLocks noChangeArrowheads="1"/>
              </p:cNvSpPr>
              <p:nvPr/>
            </p:nvSpPr>
            <p:spPr bwMode="auto">
              <a:xfrm>
                <a:off x="5306394" y="2654914"/>
                <a:ext cx="1579208" cy="1548175"/>
              </a:xfrm>
              <a:custGeom>
                <a:avLst/>
                <a:gdLst>
                  <a:gd name="connsiteX0" fmla="*/ 790640 w 1579208"/>
                  <a:gd name="connsiteY0" fmla="*/ 1483535 h 1548175"/>
                  <a:gd name="connsiteX1" fmla="*/ 822960 w 1579208"/>
                  <a:gd name="connsiteY1" fmla="*/ 1515855 h 1548175"/>
                  <a:gd name="connsiteX2" fmla="*/ 790640 w 1579208"/>
                  <a:gd name="connsiteY2" fmla="*/ 1548175 h 1548175"/>
                  <a:gd name="connsiteX3" fmla="*/ 758320 w 1579208"/>
                  <a:gd name="connsiteY3" fmla="*/ 1515855 h 1548175"/>
                  <a:gd name="connsiteX4" fmla="*/ 790640 w 1579208"/>
                  <a:gd name="connsiteY4" fmla="*/ 1483535 h 1548175"/>
                  <a:gd name="connsiteX5" fmla="*/ 1295138 w 1579208"/>
                  <a:gd name="connsiteY5" fmla="*/ 1288043 h 1548175"/>
                  <a:gd name="connsiteX6" fmla="*/ 1327458 w 1579208"/>
                  <a:gd name="connsiteY6" fmla="*/ 1320363 h 1548175"/>
                  <a:gd name="connsiteX7" fmla="*/ 1295138 w 1579208"/>
                  <a:gd name="connsiteY7" fmla="*/ 1352683 h 1548175"/>
                  <a:gd name="connsiteX8" fmla="*/ 1262818 w 1579208"/>
                  <a:gd name="connsiteY8" fmla="*/ 1320363 h 1548175"/>
                  <a:gd name="connsiteX9" fmla="*/ 1295138 w 1579208"/>
                  <a:gd name="connsiteY9" fmla="*/ 1288043 h 1548175"/>
                  <a:gd name="connsiteX10" fmla="*/ 176574 w 1579208"/>
                  <a:gd name="connsiteY10" fmla="*/ 1168225 h 1548175"/>
                  <a:gd name="connsiteX11" fmla="*/ 231754 w 1579208"/>
                  <a:gd name="connsiteY11" fmla="*/ 1222616 h 1548175"/>
                  <a:gd name="connsiteX12" fmla="*/ 176574 w 1579208"/>
                  <a:gd name="connsiteY12" fmla="*/ 1277007 h 1548175"/>
                  <a:gd name="connsiteX13" fmla="*/ 121394 w 1579208"/>
                  <a:gd name="connsiteY13" fmla="*/ 1222616 h 1548175"/>
                  <a:gd name="connsiteX14" fmla="*/ 176574 w 1579208"/>
                  <a:gd name="connsiteY14" fmla="*/ 1168225 h 1548175"/>
                  <a:gd name="connsiteX15" fmla="*/ 758322 w 1579208"/>
                  <a:gd name="connsiteY15" fmla="*/ 1146153 h 1548175"/>
                  <a:gd name="connsiteX16" fmla="*/ 832420 w 1579208"/>
                  <a:gd name="connsiteY16" fmla="*/ 1220251 h 1548175"/>
                  <a:gd name="connsiteX17" fmla="*/ 758322 w 1579208"/>
                  <a:gd name="connsiteY17" fmla="*/ 1294349 h 1548175"/>
                  <a:gd name="connsiteX18" fmla="*/ 684224 w 1579208"/>
                  <a:gd name="connsiteY18" fmla="*/ 1220251 h 1548175"/>
                  <a:gd name="connsiteX19" fmla="*/ 758322 w 1579208"/>
                  <a:gd name="connsiteY19" fmla="*/ 1146153 h 1548175"/>
                  <a:gd name="connsiteX20" fmla="*/ 574654 w 1579208"/>
                  <a:gd name="connsiteY20" fmla="*/ 1103586 h 1548175"/>
                  <a:gd name="connsiteX21" fmla="*/ 606974 w 1579208"/>
                  <a:gd name="connsiteY21" fmla="*/ 1135906 h 1548175"/>
                  <a:gd name="connsiteX22" fmla="*/ 574654 w 1579208"/>
                  <a:gd name="connsiteY22" fmla="*/ 1168226 h 1548175"/>
                  <a:gd name="connsiteX23" fmla="*/ 542334 w 1579208"/>
                  <a:gd name="connsiteY23" fmla="*/ 1135906 h 1548175"/>
                  <a:gd name="connsiteX24" fmla="*/ 574654 w 1579208"/>
                  <a:gd name="connsiteY24" fmla="*/ 1103586 h 1548175"/>
                  <a:gd name="connsiteX25" fmla="*/ 1481171 w 1579208"/>
                  <a:gd name="connsiteY25" fmla="*/ 1057866 h 1548175"/>
                  <a:gd name="connsiteX26" fmla="*/ 1513491 w 1579208"/>
                  <a:gd name="connsiteY26" fmla="*/ 1090186 h 1548175"/>
                  <a:gd name="connsiteX27" fmla="*/ 1481171 w 1579208"/>
                  <a:gd name="connsiteY27" fmla="*/ 1122506 h 1548175"/>
                  <a:gd name="connsiteX28" fmla="*/ 1448851 w 1579208"/>
                  <a:gd name="connsiteY28" fmla="*/ 1090186 h 1548175"/>
                  <a:gd name="connsiteX29" fmla="*/ 1481171 w 1579208"/>
                  <a:gd name="connsiteY29" fmla="*/ 1057866 h 1548175"/>
                  <a:gd name="connsiteX30" fmla="*/ 1235519 w 1579208"/>
                  <a:gd name="connsiteY30" fmla="*/ 809523 h 1548175"/>
                  <a:gd name="connsiteX31" fmla="*/ 1290699 w 1579208"/>
                  <a:gd name="connsiteY31" fmla="*/ 864703 h 1548175"/>
                  <a:gd name="connsiteX32" fmla="*/ 1235519 w 1579208"/>
                  <a:gd name="connsiteY32" fmla="*/ 919883 h 1548175"/>
                  <a:gd name="connsiteX33" fmla="*/ 1180339 w 1579208"/>
                  <a:gd name="connsiteY33" fmla="*/ 864703 h 1548175"/>
                  <a:gd name="connsiteX34" fmla="*/ 1235519 w 1579208"/>
                  <a:gd name="connsiteY34" fmla="*/ 809523 h 1548175"/>
                  <a:gd name="connsiteX35" fmla="*/ 24437 w 1579208"/>
                  <a:gd name="connsiteY35" fmla="*/ 748862 h 1548175"/>
                  <a:gd name="connsiteX36" fmla="*/ 48874 w 1579208"/>
                  <a:gd name="connsiteY36" fmla="*/ 773299 h 1548175"/>
                  <a:gd name="connsiteX37" fmla="*/ 24437 w 1579208"/>
                  <a:gd name="connsiteY37" fmla="*/ 797736 h 1548175"/>
                  <a:gd name="connsiteX38" fmla="*/ 0 w 1579208"/>
                  <a:gd name="connsiteY38" fmla="*/ 773299 h 1548175"/>
                  <a:gd name="connsiteX39" fmla="*/ 24437 w 1579208"/>
                  <a:gd name="connsiteY39" fmla="*/ 748862 h 1548175"/>
                  <a:gd name="connsiteX40" fmla="*/ 1547677 w 1579208"/>
                  <a:gd name="connsiteY40" fmla="*/ 711777 h 1548175"/>
                  <a:gd name="connsiteX41" fmla="*/ 1579208 w 1579208"/>
                  <a:gd name="connsiteY41" fmla="*/ 744097 h 1548175"/>
                  <a:gd name="connsiteX42" fmla="*/ 1547677 w 1579208"/>
                  <a:gd name="connsiteY42" fmla="*/ 776417 h 1548175"/>
                  <a:gd name="connsiteX43" fmla="*/ 1516146 w 1579208"/>
                  <a:gd name="connsiteY43" fmla="*/ 744097 h 1548175"/>
                  <a:gd name="connsiteX44" fmla="*/ 1547677 w 1579208"/>
                  <a:gd name="connsiteY44" fmla="*/ 711777 h 1548175"/>
                  <a:gd name="connsiteX45" fmla="*/ 544699 w 1579208"/>
                  <a:gd name="connsiteY45" fmla="*/ 636927 h 1548175"/>
                  <a:gd name="connsiteX46" fmla="*/ 577019 w 1579208"/>
                  <a:gd name="connsiteY46" fmla="*/ 669247 h 1548175"/>
                  <a:gd name="connsiteX47" fmla="*/ 544699 w 1579208"/>
                  <a:gd name="connsiteY47" fmla="*/ 701567 h 1548175"/>
                  <a:gd name="connsiteX48" fmla="*/ 512379 w 1579208"/>
                  <a:gd name="connsiteY48" fmla="*/ 669247 h 1548175"/>
                  <a:gd name="connsiteX49" fmla="*/ 544699 w 1579208"/>
                  <a:gd name="connsiteY49" fmla="*/ 636927 h 1548175"/>
                  <a:gd name="connsiteX50" fmla="*/ 159232 w 1579208"/>
                  <a:gd name="connsiteY50" fmla="*/ 324770 h 1548175"/>
                  <a:gd name="connsiteX51" fmla="*/ 214412 w 1579208"/>
                  <a:gd name="connsiteY51" fmla="*/ 379950 h 1548175"/>
                  <a:gd name="connsiteX52" fmla="*/ 159232 w 1579208"/>
                  <a:gd name="connsiteY52" fmla="*/ 435130 h 1548175"/>
                  <a:gd name="connsiteX53" fmla="*/ 104052 w 1579208"/>
                  <a:gd name="connsiteY53" fmla="*/ 379950 h 1548175"/>
                  <a:gd name="connsiteX54" fmla="*/ 159232 w 1579208"/>
                  <a:gd name="connsiteY54" fmla="*/ 324770 h 1548175"/>
                  <a:gd name="connsiteX55" fmla="*/ 1391598 w 1579208"/>
                  <a:gd name="connsiteY55" fmla="*/ 256154 h 1548175"/>
                  <a:gd name="connsiteX56" fmla="*/ 1456237 w 1579208"/>
                  <a:gd name="connsiteY56" fmla="*/ 320793 h 1548175"/>
                  <a:gd name="connsiteX57" fmla="*/ 1391598 w 1579208"/>
                  <a:gd name="connsiteY57" fmla="*/ 385432 h 1548175"/>
                  <a:gd name="connsiteX58" fmla="*/ 1326959 w 1579208"/>
                  <a:gd name="connsiteY58" fmla="*/ 320793 h 1548175"/>
                  <a:gd name="connsiteX59" fmla="*/ 1391598 w 1579208"/>
                  <a:gd name="connsiteY59" fmla="*/ 256154 h 1548175"/>
                  <a:gd name="connsiteX60" fmla="*/ 990074 w 1579208"/>
                  <a:gd name="connsiteY60" fmla="*/ 212835 h 1548175"/>
                  <a:gd name="connsiteX61" fmla="*/ 1045254 w 1579208"/>
                  <a:gd name="connsiteY61" fmla="*/ 268015 h 1548175"/>
                  <a:gd name="connsiteX62" fmla="*/ 990074 w 1579208"/>
                  <a:gd name="connsiteY62" fmla="*/ 323195 h 1548175"/>
                  <a:gd name="connsiteX63" fmla="*/ 934894 w 1579208"/>
                  <a:gd name="connsiteY63" fmla="*/ 268015 h 1548175"/>
                  <a:gd name="connsiteX64" fmla="*/ 990074 w 1579208"/>
                  <a:gd name="connsiteY64" fmla="*/ 212835 h 1548175"/>
                  <a:gd name="connsiteX65" fmla="*/ 547852 w 1579208"/>
                  <a:gd name="connsiteY65" fmla="*/ 208105 h 1548175"/>
                  <a:gd name="connsiteX66" fmla="*/ 580172 w 1579208"/>
                  <a:gd name="connsiteY66" fmla="*/ 240425 h 1548175"/>
                  <a:gd name="connsiteX67" fmla="*/ 547852 w 1579208"/>
                  <a:gd name="connsiteY67" fmla="*/ 272745 h 1548175"/>
                  <a:gd name="connsiteX68" fmla="*/ 515532 w 1579208"/>
                  <a:gd name="connsiteY68" fmla="*/ 240425 h 1548175"/>
                  <a:gd name="connsiteX69" fmla="*/ 547852 w 1579208"/>
                  <a:gd name="connsiteY69" fmla="*/ 208105 h 1548175"/>
                  <a:gd name="connsiteX70" fmla="*/ 995592 w 1579208"/>
                  <a:gd name="connsiteY70" fmla="*/ 11037 h 1548175"/>
                  <a:gd name="connsiteX71" fmla="*/ 1027912 w 1579208"/>
                  <a:gd name="connsiteY71" fmla="*/ 42568 h 1548175"/>
                  <a:gd name="connsiteX72" fmla="*/ 995592 w 1579208"/>
                  <a:gd name="connsiteY72" fmla="*/ 74099 h 1548175"/>
                  <a:gd name="connsiteX73" fmla="*/ 963272 w 1579208"/>
                  <a:gd name="connsiteY73" fmla="*/ 42568 h 1548175"/>
                  <a:gd name="connsiteX74" fmla="*/ 995592 w 1579208"/>
                  <a:gd name="connsiteY74" fmla="*/ 11037 h 1548175"/>
                  <a:gd name="connsiteX75" fmla="*/ 614067 w 1579208"/>
                  <a:gd name="connsiteY75" fmla="*/ 0 h 1548175"/>
                  <a:gd name="connsiteX76" fmla="*/ 646387 w 1579208"/>
                  <a:gd name="connsiteY76" fmla="*/ 32320 h 1548175"/>
                  <a:gd name="connsiteX77" fmla="*/ 614067 w 1579208"/>
                  <a:gd name="connsiteY77" fmla="*/ 64640 h 1548175"/>
                  <a:gd name="connsiteX78" fmla="*/ 581747 w 1579208"/>
                  <a:gd name="connsiteY78" fmla="*/ 32320 h 1548175"/>
                  <a:gd name="connsiteX79" fmla="*/ 614067 w 1579208"/>
                  <a:gd name="connsiteY79" fmla="*/ 0 h 154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79208" h="1548175">
                    <a:moveTo>
                      <a:pt x="790640" y="1483535"/>
                    </a:moveTo>
                    <a:cubicBezTo>
                      <a:pt x="808490" y="1483535"/>
                      <a:pt x="822960" y="1498005"/>
                      <a:pt x="822960" y="1515855"/>
                    </a:cubicBezTo>
                    <a:cubicBezTo>
                      <a:pt x="822960" y="1533705"/>
                      <a:pt x="808490" y="1548175"/>
                      <a:pt x="790640" y="1548175"/>
                    </a:cubicBezTo>
                    <a:cubicBezTo>
                      <a:pt x="772790" y="1548175"/>
                      <a:pt x="758320" y="1533705"/>
                      <a:pt x="758320" y="1515855"/>
                    </a:cubicBezTo>
                    <a:cubicBezTo>
                      <a:pt x="758320" y="1498005"/>
                      <a:pt x="772790" y="1483535"/>
                      <a:pt x="790640" y="1483535"/>
                    </a:cubicBezTo>
                    <a:close/>
                    <a:moveTo>
                      <a:pt x="1295138" y="1288043"/>
                    </a:moveTo>
                    <a:cubicBezTo>
                      <a:pt x="1312988" y="1288043"/>
                      <a:pt x="1327458" y="1302513"/>
                      <a:pt x="1327458" y="1320363"/>
                    </a:cubicBezTo>
                    <a:cubicBezTo>
                      <a:pt x="1327458" y="1338213"/>
                      <a:pt x="1312988" y="1352683"/>
                      <a:pt x="1295138" y="1352683"/>
                    </a:cubicBezTo>
                    <a:cubicBezTo>
                      <a:pt x="1277288" y="1352683"/>
                      <a:pt x="1262818" y="1338213"/>
                      <a:pt x="1262818" y="1320363"/>
                    </a:cubicBezTo>
                    <a:cubicBezTo>
                      <a:pt x="1262818" y="1302513"/>
                      <a:pt x="1277288" y="1288043"/>
                      <a:pt x="1295138" y="1288043"/>
                    </a:cubicBezTo>
                    <a:close/>
                    <a:moveTo>
                      <a:pt x="176574" y="1168225"/>
                    </a:moveTo>
                    <a:cubicBezTo>
                      <a:pt x="207049" y="1168225"/>
                      <a:pt x="231754" y="1192577"/>
                      <a:pt x="231754" y="1222616"/>
                    </a:cubicBezTo>
                    <a:cubicBezTo>
                      <a:pt x="231754" y="1252655"/>
                      <a:pt x="207049" y="1277007"/>
                      <a:pt x="176574" y="1277007"/>
                    </a:cubicBezTo>
                    <a:cubicBezTo>
                      <a:pt x="146099" y="1277007"/>
                      <a:pt x="121394" y="1252655"/>
                      <a:pt x="121394" y="1222616"/>
                    </a:cubicBezTo>
                    <a:cubicBezTo>
                      <a:pt x="121394" y="1192577"/>
                      <a:pt x="146099" y="1168225"/>
                      <a:pt x="176574" y="1168225"/>
                    </a:cubicBezTo>
                    <a:close/>
                    <a:moveTo>
                      <a:pt x="758322" y="1146153"/>
                    </a:moveTo>
                    <a:cubicBezTo>
                      <a:pt x="799245" y="1146153"/>
                      <a:pt x="832420" y="1179328"/>
                      <a:pt x="832420" y="1220251"/>
                    </a:cubicBezTo>
                    <a:cubicBezTo>
                      <a:pt x="832420" y="1261174"/>
                      <a:pt x="799245" y="1294349"/>
                      <a:pt x="758322" y="1294349"/>
                    </a:cubicBezTo>
                    <a:cubicBezTo>
                      <a:pt x="717399" y="1294349"/>
                      <a:pt x="684224" y="1261174"/>
                      <a:pt x="684224" y="1220251"/>
                    </a:cubicBezTo>
                    <a:cubicBezTo>
                      <a:pt x="684224" y="1179328"/>
                      <a:pt x="717399" y="1146153"/>
                      <a:pt x="758322" y="1146153"/>
                    </a:cubicBezTo>
                    <a:close/>
                    <a:moveTo>
                      <a:pt x="574654" y="1103586"/>
                    </a:moveTo>
                    <a:cubicBezTo>
                      <a:pt x="592504" y="1103586"/>
                      <a:pt x="606974" y="1118056"/>
                      <a:pt x="606974" y="1135906"/>
                    </a:cubicBezTo>
                    <a:cubicBezTo>
                      <a:pt x="606974" y="1153756"/>
                      <a:pt x="592504" y="1168226"/>
                      <a:pt x="574654" y="1168226"/>
                    </a:cubicBezTo>
                    <a:cubicBezTo>
                      <a:pt x="556804" y="1168226"/>
                      <a:pt x="542334" y="1153756"/>
                      <a:pt x="542334" y="1135906"/>
                    </a:cubicBezTo>
                    <a:cubicBezTo>
                      <a:pt x="542334" y="1118056"/>
                      <a:pt x="556804" y="1103586"/>
                      <a:pt x="574654" y="1103586"/>
                    </a:cubicBezTo>
                    <a:close/>
                    <a:moveTo>
                      <a:pt x="1481171" y="1057866"/>
                    </a:moveTo>
                    <a:cubicBezTo>
                      <a:pt x="1499021" y="1057866"/>
                      <a:pt x="1513491" y="1072336"/>
                      <a:pt x="1513491" y="1090186"/>
                    </a:cubicBezTo>
                    <a:cubicBezTo>
                      <a:pt x="1513491" y="1108036"/>
                      <a:pt x="1499021" y="1122506"/>
                      <a:pt x="1481171" y="1122506"/>
                    </a:cubicBezTo>
                    <a:cubicBezTo>
                      <a:pt x="1463321" y="1122506"/>
                      <a:pt x="1448851" y="1108036"/>
                      <a:pt x="1448851" y="1090186"/>
                    </a:cubicBezTo>
                    <a:cubicBezTo>
                      <a:pt x="1448851" y="1072336"/>
                      <a:pt x="1463321" y="1057866"/>
                      <a:pt x="1481171" y="1057866"/>
                    </a:cubicBezTo>
                    <a:close/>
                    <a:moveTo>
                      <a:pt x="1235519" y="809523"/>
                    </a:moveTo>
                    <a:cubicBezTo>
                      <a:pt x="1265994" y="809523"/>
                      <a:pt x="1290699" y="834228"/>
                      <a:pt x="1290699" y="864703"/>
                    </a:cubicBezTo>
                    <a:cubicBezTo>
                      <a:pt x="1290699" y="895178"/>
                      <a:pt x="1265994" y="919883"/>
                      <a:pt x="1235519" y="919883"/>
                    </a:cubicBezTo>
                    <a:cubicBezTo>
                      <a:pt x="1205044" y="919883"/>
                      <a:pt x="1180339" y="895178"/>
                      <a:pt x="1180339" y="864703"/>
                    </a:cubicBezTo>
                    <a:cubicBezTo>
                      <a:pt x="1180339" y="834228"/>
                      <a:pt x="1205044" y="809523"/>
                      <a:pt x="1235519" y="809523"/>
                    </a:cubicBezTo>
                    <a:close/>
                    <a:moveTo>
                      <a:pt x="24437" y="748862"/>
                    </a:moveTo>
                    <a:cubicBezTo>
                      <a:pt x="37933" y="748862"/>
                      <a:pt x="48874" y="759803"/>
                      <a:pt x="48874" y="773299"/>
                    </a:cubicBezTo>
                    <a:cubicBezTo>
                      <a:pt x="48874" y="786795"/>
                      <a:pt x="37933" y="797736"/>
                      <a:pt x="24437" y="797736"/>
                    </a:cubicBezTo>
                    <a:cubicBezTo>
                      <a:pt x="10941" y="797736"/>
                      <a:pt x="0" y="786795"/>
                      <a:pt x="0" y="773299"/>
                    </a:cubicBezTo>
                    <a:cubicBezTo>
                      <a:pt x="0" y="759803"/>
                      <a:pt x="10941" y="748862"/>
                      <a:pt x="24437" y="748862"/>
                    </a:cubicBezTo>
                    <a:close/>
                    <a:moveTo>
                      <a:pt x="1547677" y="711777"/>
                    </a:moveTo>
                    <a:cubicBezTo>
                      <a:pt x="1565091" y="711777"/>
                      <a:pt x="1579208" y="726247"/>
                      <a:pt x="1579208" y="744097"/>
                    </a:cubicBezTo>
                    <a:cubicBezTo>
                      <a:pt x="1579208" y="761947"/>
                      <a:pt x="1565091" y="776417"/>
                      <a:pt x="1547677" y="776417"/>
                    </a:cubicBezTo>
                    <a:cubicBezTo>
                      <a:pt x="1530263" y="776417"/>
                      <a:pt x="1516146" y="761947"/>
                      <a:pt x="1516146" y="744097"/>
                    </a:cubicBezTo>
                    <a:cubicBezTo>
                      <a:pt x="1516146" y="726247"/>
                      <a:pt x="1530263" y="711777"/>
                      <a:pt x="1547677" y="711777"/>
                    </a:cubicBezTo>
                    <a:close/>
                    <a:moveTo>
                      <a:pt x="544699" y="636927"/>
                    </a:moveTo>
                    <a:cubicBezTo>
                      <a:pt x="562549" y="636927"/>
                      <a:pt x="577019" y="651397"/>
                      <a:pt x="577019" y="669247"/>
                    </a:cubicBezTo>
                    <a:cubicBezTo>
                      <a:pt x="577019" y="687097"/>
                      <a:pt x="562549" y="701567"/>
                      <a:pt x="544699" y="701567"/>
                    </a:cubicBezTo>
                    <a:cubicBezTo>
                      <a:pt x="526849" y="701567"/>
                      <a:pt x="512379" y="687097"/>
                      <a:pt x="512379" y="669247"/>
                    </a:cubicBezTo>
                    <a:cubicBezTo>
                      <a:pt x="512379" y="651397"/>
                      <a:pt x="526849" y="636927"/>
                      <a:pt x="544699" y="636927"/>
                    </a:cubicBezTo>
                    <a:close/>
                    <a:moveTo>
                      <a:pt x="159232" y="324770"/>
                    </a:moveTo>
                    <a:cubicBezTo>
                      <a:pt x="189707" y="324770"/>
                      <a:pt x="214412" y="349475"/>
                      <a:pt x="214412" y="379950"/>
                    </a:cubicBezTo>
                    <a:cubicBezTo>
                      <a:pt x="214412" y="410425"/>
                      <a:pt x="189707" y="435130"/>
                      <a:pt x="159232" y="435130"/>
                    </a:cubicBezTo>
                    <a:cubicBezTo>
                      <a:pt x="128757" y="435130"/>
                      <a:pt x="104052" y="410425"/>
                      <a:pt x="104052" y="379950"/>
                    </a:cubicBezTo>
                    <a:cubicBezTo>
                      <a:pt x="104052" y="349475"/>
                      <a:pt x="128757" y="324770"/>
                      <a:pt x="159232" y="324770"/>
                    </a:cubicBezTo>
                    <a:close/>
                    <a:moveTo>
                      <a:pt x="1391598" y="256154"/>
                    </a:moveTo>
                    <a:cubicBezTo>
                      <a:pt x="1427297" y="256154"/>
                      <a:pt x="1456237" y="285094"/>
                      <a:pt x="1456237" y="320793"/>
                    </a:cubicBezTo>
                    <a:cubicBezTo>
                      <a:pt x="1456237" y="356492"/>
                      <a:pt x="1427297" y="385432"/>
                      <a:pt x="1391598" y="385432"/>
                    </a:cubicBezTo>
                    <a:cubicBezTo>
                      <a:pt x="1355899" y="385432"/>
                      <a:pt x="1326959" y="356492"/>
                      <a:pt x="1326959" y="320793"/>
                    </a:cubicBezTo>
                    <a:cubicBezTo>
                      <a:pt x="1326959" y="285094"/>
                      <a:pt x="1355899" y="256154"/>
                      <a:pt x="1391598" y="256154"/>
                    </a:cubicBezTo>
                    <a:close/>
                    <a:moveTo>
                      <a:pt x="990074" y="212835"/>
                    </a:moveTo>
                    <a:cubicBezTo>
                      <a:pt x="1020549" y="212835"/>
                      <a:pt x="1045254" y="237540"/>
                      <a:pt x="1045254" y="268015"/>
                    </a:cubicBezTo>
                    <a:cubicBezTo>
                      <a:pt x="1045254" y="298490"/>
                      <a:pt x="1020549" y="323195"/>
                      <a:pt x="990074" y="323195"/>
                    </a:cubicBezTo>
                    <a:cubicBezTo>
                      <a:pt x="959599" y="323195"/>
                      <a:pt x="934894" y="298490"/>
                      <a:pt x="934894" y="268015"/>
                    </a:cubicBezTo>
                    <a:cubicBezTo>
                      <a:pt x="934894" y="237540"/>
                      <a:pt x="959599" y="212835"/>
                      <a:pt x="990074" y="212835"/>
                    </a:cubicBezTo>
                    <a:close/>
                    <a:moveTo>
                      <a:pt x="547852" y="208105"/>
                    </a:moveTo>
                    <a:cubicBezTo>
                      <a:pt x="565702" y="208105"/>
                      <a:pt x="580172" y="222575"/>
                      <a:pt x="580172" y="240425"/>
                    </a:cubicBezTo>
                    <a:cubicBezTo>
                      <a:pt x="580172" y="258275"/>
                      <a:pt x="565702" y="272745"/>
                      <a:pt x="547852" y="272745"/>
                    </a:cubicBezTo>
                    <a:cubicBezTo>
                      <a:pt x="530002" y="272745"/>
                      <a:pt x="515532" y="258275"/>
                      <a:pt x="515532" y="240425"/>
                    </a:cubicBezTo>
                    <a:cubicBezTo>
                      <a:pt x="515532" y="222575"/>
                      <a:pt x="530002" y="208105"/>
                      <a:pt x="547852" y="208105"/>
                    </a:cubicBezTo>
                    <a:close/>
                    <a:moveTo>
                      <a:pt x="995592" y="11037"/>
                    </a:moveTo>
                    <a:cubicBezTo>
                      <a:pt x="1013442" y="11037"/>
                      <a:pt x="1027912" y="25154"/>
                      <a:pt x="1027912" y="42568"/>
                    </a:cubicBezTo>
                    <a:cubicBezTo>
                      <a:pt x="1027912" y="59982"/>
                      <a:pt x="1013442" y="74099"/>
                      <a:pt x="995592" y="74099"/>
                    </a:cubicBezTo>
                    <a:cubicBezTo>
                      <a:pt x="977742" y="74099"/>
                      <a:pt x="963272" y="59982"/>
                      <a:pt x="963272" y="42568"/>
                    </a:cubicBezTo>
                    <a:cubicBezTo>
                      <a:pt x="963272" y="25154"/>
                      <a:pt x="977742" y="11037"/>
                      <a:pt x="995592" y="11037"/>
                    </a:cubicBezTo>
                    <a:close/>
                    <a:moveTo>
                      <a:pt x="614067" y="0"/>
                    </a:moveTo>
                    <a:cubicBezTo>
                      <a:pt x="631917" y="0"/>
                      <a:pt x="646387" y="14470"/>
                      <a:pt x="646387" y="32320"/>
                    </a:cubicBezTo>
                    <a:cubicBezTo>
                      <a:pt x="646387" y="50170"/>
                      <a:pt x="631917" y="64640"/>
                      <a:pt x="614067" y="64640"/>
                    </a:cubicBezTo>
                    <a:cubicBezTo>
                      <a:pt x="596217" y="64640"/>
                      <a:pt x="581747" y="50170"/>
                      <a:pt x="581747" y="32320"/>
                    </a:cubicBezTo>
                    <a:cubicBezTo>
                      <a:pt x="581747" y="14470"/>
                      <a:pt x="596217" y="0"/>
                      <a:pt x="614067" y="0"/>
                    </a:cubicBezTo>
                    <a:close/>
                  </a:path>
                </a:pathLst>
              </a:custGeom>
              <a:solidFill>
                <a:schemeClr val="tx2"/>
              </a:solidFill>
              <a:ln>
                <a:noFill/>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dirty="0"/>
              </a:p>
            </p:txBody>
          </p:sp>
        </p:grpSp>
      </p:grpSp>
      <p:sp>
        <p:nvSpPr>
          <p:cNvPr id="20" name="ee4pHeader1"/>
          <p:cNvSpPr txBox="1"/>
          <p:nvPr/>
        </p:nvSpPr>
        <p:spPr>
          <a:xfrm>
            <a:off x="630000" y="2532170"/>
            <a:ext cx="4995640" cy="658368"/>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Data set scope </a:t>
            </a:r>
          </a:p>
        </p:txBody>
      </p:sp>
      <p:sp>
        <p:nvSpPr>
          <p:cNvPr id="21" name="ee4pHeader2"/>
          <p:cNvSpPr txBox="1"/>
          <p:nvPr/>
        </p:nvSpPr>
        <p:spPr>
          <a:xfrm>
            <a:off x="6466976" y="2532170"/>
            <a:ext cx="4995640" cy="658368"/>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Fields description </a:t>
            </a:r>
          </a:p>
        </p:txBody>
      </p:sp>
      <p:grpSp>
        <p:nvGrpSpPr>
          <p:cNvPr id="37" name="Group 36"/>
          <p:cNvGrpSpPr/>
          <p:nvPr/>
        </p:nvGrpSpPr>
        <p:grpSpPr>
          <a:xfrm rot="5400000">
            <a:off x="2516455" y="1493498"/>
            <a:ext cx="306171" cy="4079081"/>
            <a:chOff x="5942914" y="2081213"/>
            <a:chExt cx="306171" cy="4079081"/>
          </a:xfrm>
        </p:grpSpPr>
        <p:cxnSp>
          <p:nvCxnSpPr>
            <p:cNvPr id="38" name="Straight Connector 37"/>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5942914" y="3967299"/>
              <a:ext cx="306171" cy="306910"/>
              <a:chOff x="5937564" y="3833745"/>
              <a:chExt cx="306171" cy="306910"/>
            </a:xfrm>
          </p:grpSpPr>
          <p:sp>
            <p:nvSpPr>
              <p:cNvPr id="4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42" name="Group 41"/>
          <p:cNvGrpSpPr/>
          <p:nvPr/>
        </p:nvGrpSpPr>
        <p:grpSpPr>
          <a:xfrm rot="5400000">
            <a:off x="8353433" y="1493498"/>
            <a:ext cx="306171" cy="4079081"/>
            <a:chOff x="5942914" y="2081213"/>
            <a:chExt cx="306171" cy="4079081"/>
          </a:xfrm>
        </p:grpSpPr>
        <p:cxnSp>
          <p:nvCxnSpPr>
            <p:cNvPr id="43" name="Straight Connector 42"/>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5942914" y="3967299"/>
              <a:ext cx="306171" cy="306910"/>
              <a:chOff x="5937564" y="3833745"/>
              <a:chExt cx="306171" cy="306910"/>
            </a:xfrm>
          </p:grpSpPr>
          <p:sp>
            <p:nvSpPr>
              <p:cNvPr id="45"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6"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extLst>
      <p:ext uri="{BB962C8B-B14F-4D97-AF65-F5344CB8AC3E}">
        <p14:creationId xmlns:p14="http://schemas.microsoft.com/office/powerpoint/2010/main" val="2393543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hlinkClick r:id="rId11" action="ppaction://hlinksldjump"/>
            <a:extLst>
              <a:ext uri="{FF2B5EF4-FFF2-40B4-BE49-F238E27FC236}">
                <a16:creationId xmlns:a16="http://schemas.microsoft.com/office/drawing/2014/main" id="{08364FDF-D18F-AC44-B2D6-0D544518998E}"/>
              </a:ext>
            </a:extLst>
          </p:cNvPr>
          <p:cNvSpPr/>
          <p:nvPr>
            <p:custDataLst>
              <p:tags r:id="rId3"/>
            </p:custDataLst>
          </p:nvPr>
        </p:nvSpPr>
        <p:spPr>
          <a:xfrm>
            <a:off x="5166432" y="3807180"/>
            <a:ext cx="3282950"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Trebuchet MS" panose="020B0703020202090204" pitchFamily="34" charset="0"/>
              </a:rPr>
              <a:t>Your turn now!</a:t>
            </a:r>
          </a:p>
        </p:txBody>
      </p:sp>
      <p:sp>
        <p:nvSpPr>
          <p:cNvPr id="25" name="Oval 24">
            <a:extLst>
              <a:ext uri="{FF2B5EF4-FFF2-40B4-BE49-F238E27FC236}">
                <a16:creationId xmlns:a16="http://schemas.microsoft.com/office/drawing/2014/main" id="{CBB01420-5659-3C45-AC36-1033D921338B}"/>
              </a:ext>
            </a:extLst>
          </p:cNvPr>
          <p:cNvSpPr/>
          <p:nvPr>
            <p:custDataLst>
              <p:tags r:id="rId4"/>
            </p:custDataLst>
          </p:nvPr>
        </p:nvSpPr>
        <p:spPr>
          <a:xfrm>
            <a:off x="4714058" y="3282696"/>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chemeClr val="tx1">
                  <a:lumMod val="100000"/>
                </a:schemeClr>
              </a:solidFill>
              <a:latin typeface="Trebuchet MS" panose="020B0703020202090204" pitchFamily="34" charset="0"/>
            </a:endParaRPr>
          </a:p>
        </p:txBody>
      </p:sp>
      <p:pic>
        <p:nvPicPr>
          <p:cNvPr id="24" name="Picture 23">
            <a:extLst>
              <a:ext uri="{FF2B5EF4-FFF2-40B4-BE49-F238E27FC236}">
                <a16:creationId xmlns:a16="http://schemas.microsoft.com/office/drawing/2014/main" id="{326F8376-7E1A-B743-A6A3-B4B18A7D367E}"/>
              </a:ext>
            </a:extLst>
          </p:cNvPr>
          <p:cNvPicPr>
            <a:picLocks/>
          </p:cNvPicPr>
          <p:nvPr>
            <p:custDataLst>
              <p:tags r:id="rId5"/>
            </p:custDataLst>
          </p:nvPr>
        </p:nvPicPr>
        <p:blipFill>
          <a:blip r:embed="rId12"/>
          <a:stretch>
            <a:fillRect/>
          </a:stretch>
        </p:blipFill>
        <p:spPr>
          <a:xfrm>
            <a:off x="4714058" y="3282696"/>
            <a:ext cx="293147" cy="292608"/>
          </a:xfrm>
          <a:prstGeom prst="rect">
            <a:avLst/>
          </a:prstGeom>
        </p:spPr>
      </p:pic>
      <p:sp>
        <p:nvSpPr>
          <p:cNvPr id="22" name="Rectangle 21">
            <a:hlinkClick r:id="rId13" action="ppaction://hlinksldjump"/>
            <a:extLst>
              <a:ext uri="{FF2B5EF4-FFF2-40B4-BE49-F238E27FC236}">
                <a16:creationId xmlns:a16="http://schemas.microsoft.com/office/drawing/2014/main" id="{6D6078BD-7A8F-B944-BE8D-BBF28B54043D}"/>
              </a:ext>
            </a:extLst>
          </p:cNvPr>
          <p:cNvSpPr/>
          <p:nvPr>
            <p:custDataLst>
              <p:tags r:id="rId6"/>
            </p:custDataLst>
          </p:nvPr>
        </p:nvSpPr>
        <p:spPr>
          <a:xfrm>
            <a:off x="5166432" y="3241321"/>
            <a:ext cx="3282950"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Trebuchet MS" panose="020B0703020202090204" pitchFamily="34" charset="0"/>
              </a:rPr>
              <a:t>Teams and Calendar</a:t>
            </a:r>
          </a:p>
        </p:txBody>
      </p:sp>
      <p:sp>
        <p:nvSpPr>
          <p:cNvPr id="21" name="Rectangle 20">
            <a:hlinkClick r:id="rId14" action="ppaction://hlinksldjump"/>
            <a:extLst>
              <a:ext uri="{FF2B5EF4-FFF2-40B4-BE49-F238E27FC236}">
                <a16:creationId xmlns:a16="http://schemas.microsoft.com/office/drawing/2014/main" id="{C27F0A0D-A37C-CA46-9EBD-419AEC1EDC7A}"/>
              </a:ext>
            </a:extLst>
          </p:cNvPr>
          <p:cNvSpPr/>
          <p:nvPr>
            <p:custDataLst>
              <p:tags r:id="rId7"/>
            </p:custDataLst>
          </p:nvPr>
        </p:nvSpPr>
        <p:spPr>
          <a:xfrm>
            <a:off x="5166432" y="2675462"/>
            <a:ext cx="3282950"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Trebuchet MS" panose="020B0703020202090204" pitchFamily="34" charset="0"/>
              </a:rPr>
              <a:t>Case Study Introduction</a:t>
            </a:r>
          </a:p>
        </p:txBody>
      </p:sp>
      <p:sp>
        <p:nvSpPr>
          <p:cNvPr id="20" name="Title 19">
            <a:extLst>
              <a:ext uri="{FF2B5EF4-FFF2-40B4-BE49-F238E27FC236}">
                <a16:creationId xmlns:a16="http://schemas.microsoft.com/office/drawing/2014/main" id="{F314D1FA-49DA-1945-9F05-22321F2E1133}"/>
              </a:ext>
            </a:extLst>
          </p:cNvPr>
          <p:cNvSpPr>
            <a:spLocks noGrp="1"/>
          </p:cNvSpPr>
          <p:nvPr>
            <p:ph type="title"/>
            <p:custDataLst>
              <p:tags r:id="rId8"/>
            </p:custDataLst>
          </p:nvPr>
        </p:nvSpPr>
        <p:spPr/>
        <p:txBody>
          <a:bodyPr/>
          <a:lstStyle/>
          <a:p>
            <a:r>
              <a:rPr lang="en-US"/>
              <a:t>Agenda</a:t>
            </a:r>
          </a:p>
        </p:txBody>
      </p:sp>
      <p:graphicFrame>
        <p:nvGraphicFramePr>
          <p:cNvPr id="8" name="Object 7" hidden="1"/>
          <p:cNvGraphicFramePr>
            <a:graphicFrameLocks noChangeAspect="1"/>
          </p:cNvGraphicFramePr>
          <p:nvPr>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790" name="think-cell Slide" r:id="rId15" imgW="498" imgH="499" progId="TCLayout.ActiveDocument.1">
                  <p:embed/>
                </p:oleObj>
              </mc:Choice>
              <mc:Fallback>
                <p:oleObj name="think-cell Slide" r:id="rId15" imgW="498" imgH="499" progId="TCLayout.ActiveDocument.1">
                  <p:embed/>
                  <p:pic>
                    <p:nvPicPr>
                      <p:cNvPr id="8" name="Object 7" hidden="1"/>
                      <p:cNvPicPr/>
                      <p:nvPr/>
                    </p:nvPicPr>
                    <p:blipFill>
                      <a:blip r:embed="rId1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72317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Agenda&quot; title=&quot;Agenda&quot; subtitle=&quot;&quot; sizingModeId=&quot;1&quot; fontSize=&quot;24&quot; fontSizeAuto=&quot;1&quot; startTime=&quot;540&quot; timeFormatId=&quot;1&quot; startItemNo=&quot;1&quot; createSingleAgendaSlide=&quot;1&quot; createSeparatingSlides=&quot;1&quot; createBackupSlide=&quot;1&quot; layoutId=&quot;227_1-4&quot; hideSeparatingSlides=&quot;0&quot; createSections=&quot;0&quot; singleSlideId=&quot;&quot; backupSlideId=&quot;&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403.3488&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 /&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MM_SLIDE_TYPE" val="6"/>
</p:tagLst>
</file>

<file path=ppt/tags/tag101.xml><?xml version="1.0" encoding="utf-8"?>
<p:tagLst xmlns:a="http://schemas.openxmlformats.org/drawingml/2006/main" xmlns:r="http://schemas.openxmlformats.org/officeDocument/2006/relationships" xmlns:p="http://schemas.openxmlformats.org/presentationml/2006/main">
  <p:tag name="MM_SLIDE_TYPE" val="6"/>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5.xml><?xml version="1.0" encoding="utf-8"?>
<p:tagLst xmlns:a="http://schemas.openxmlformats.org/drawingml/2006/main" xmlns:r="http://schemas.openxmlformats.org/officeDocument/2006/relationships" xmlns:p="http://schemas.openxmlformats.org/presentationml/2006/main">
  <p:tag name="MM_SLIDE_TYPE" val="6"/>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RVUpRTnQ3SafRMaNBUlq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cboDGxGSeuPRsyW6D5Cew"/>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HBo7PA.Qua3XliF87feK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zA1Gmw4S0a2isVUSpoG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SHQUxlATW.wTsJ8CtH4Z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zO6DPnMRmieAI83leqcgQ"/>
</p:tagLst>
</file>

<file path=ppt/tags/tag11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Re.DP3OQOeq7X_tu7seFQ"/>
</p:tagLst>
</file>

<file path=ppt/tags/tag12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CzLZn6VeR2ypnF9azM8XO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BgaqFpmTeSHSOe1SthOP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OmvCh9PRmCYntHfEhitU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G_Bb04_cRMeMa4s2jopU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NE9qM7HfQH6dG_d7AHaUa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iAA09KYTB6D36MIrk8lD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iR1XucOSjqhHgIjGNVSc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uBlpbUIlTN.e1eEdd5ZmGA"/>
</p:tagLst>
</file>

<file path=ppt/tags/tag138.xml><?xml version="1.0" encoding="utf-8"?>
<p:tagLst xmlns:a="http://schemas.openxmlformats.org/drawingml/2006/main" xmlns:r="http://schemas.openxmlformats.org/officeDocument/2006/relationships" xmlns:p="http://schemas.openxmlformats.org/presentationml/2006/main">
  <p:tag name="MM_SLIDE_TYPE" val="6"/>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2SApnNUZSMaehGlu4MNp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i4JzHxKSdWXJbfzfD6Kt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C5LHrTt1TAiMOI_PxX7Px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jhvDWtCHQyO3dmNvghOt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oJY_RvvQvu2jgeUWIr0f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QX0A4ggTtKUWjQvBqZpiw"/>
</p:tagLst>
</file>

<file path=ppt/tags/tag151.xml><?xml version="1.0" encoding="utf-8"?>
<p:tagLst xmlns:a="http://schemas.openxmlformats.org/drawingml/2006/main" xmlns:r="http://schemas.openxmlformats.org/officeDocument/2006/relationships" xmlns:p="http://schemas.openxmlformats.org/presentationml/2006/main">
  <p:tag name="MM_SLIDE_TYPE" val="6"/>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q4d016OQ4amSayf6qQ2c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Clj_vz6S2mySFGImeV4K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bsfNKOQTIyT0KCCcWH3S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LKSBMHvJSz2Is5etRQkb1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WXRhHJlRY.k1W3EQMa5A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ALaGu4rZRC2k9bJYcsPMK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MM_SLIDE_TYPE" val="6"/>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GWA3W8N.S6mLKuLajEV.B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MM_SLIDE_TYPE" val="6"/>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MM_SLIDE_TYPE" val="6"/>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tNnlu8LkrRgjBLareIJCg"/>
</p:tagLst>
</file>

<file path=ppt/tags/tag185.xml><?xml version="1.0" encoding="utf-8"?>
<p:tagLst xmlns:a="http://schemas.openxmlformats.org/drawingml/2006/main" xmlns:r="http://schemas.openxmlformats.org/officeDocument/2006/relationships" xmlns:p="http://schemas.openxmlformats.org/presentationml/2006/main">
  <p:tag name="BCG_MODE" val="Presentation"/>
  <p:tag name="BCG_DESIGN" val="Green highlight (P)"/>
  <p:tag name="EE4P_LAYOUT_ID" val="K"/>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jCVCshu2bPJM6krEDyU_5g"/>
</p:tagLst>
</file>

<file path=ppt/tags/tag18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9.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tFKScnP.gi59q1B.0oHA1g"/>
</p:tagLst>
</file>

<file path=ppt/tags/tag192.xml><?xml version="1.0" encoding="utf-8"?>
<p:tagLst xmlns:a="http://schemas.openxmlformats.org/drawingml/2006/main" xmlns:r="http://schemas.openxmlformats.org/officeDocument/2006/relationships" xmlns:p="http://schemas.openxmlformats.org/presentationml/2006/main">
  <p:tag name="EE4P_SLIDEID" val="ddfdc15a-0405-433a-9161-c4eafc8f5339"/>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aa9940b7-d11a-42ad-8cda-08aaac9d777a_1"/>
  <p:tag name="EE4P_AGENDAWIZARD_CONTENT" val="/Your turn now!"/>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f86ff4e3-f763-4f13-9b9d-5e28c9239c15_1"/>
  <p:tag name="EE4P_AGENDAWIZARD_CONTENT" val="/Teams and Calendar"/>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ddfdc15a-0405-433a-9161-c4eafc8f5339_Element"/>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ddfdc15a-0405-433a-9161-c4eafc8f5339_Element"/>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ddfdc15a-0405-433a-9161-c4eafc8f5339_1"/>
  <p:tag name="EE4P_AGENDAWIZARD_CONTENT" val="/Case Study Introduction"/>
</p:tagLst>
</file>

<file path=ppt/tags/tag1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9emn8PhmSdGtWErkiDV32g"/>
</p:tagLst>
</file>

<file path=ppt/tags/tag202.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2a5zfhx.QS20bcELopMWv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ClasLcmuRhiqmNE4ZZT7S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WJfo0kCpQBCL2pyaNaGU6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SLIDEID" val="f86ff4e3-f763-4f13-9b9d-5e28c9239c15"/>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aa9940b7-d11a-42ad-8cda-08aaac9d777a_1"/>
  <p:tag name="EE4P_AGENDAWIZARD_CONTENT" val="/Your turn now!"/>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f86ff4e3-f763-4f13-9b9d-5e28c9239c15_Element"/>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f86ff4e3-f763-4f13-9b9d-5e28c9239c15_Element"/>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f86ff4e3-f763-4f13-9b9d-5e28c9239c15_1"/>
  <p:tag name="EE4P_AGENDAWIZARD_CONTENT" val="/Teams and Calendar"/>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ddfdc15a-0405-433a-9161-c4eafc8f5339_1"/>
  <p:tag name="EE4P_AGENDAWIZARD_CONTENT" val="/Case Study Introduction"/>
</p:tagLst>
</file>

<file path=ppt/tags/tag2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Uo9bTaCfSyu5vEed.ZDFnA"/>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0.xml><?xml version="1.0" encoding="utf-8"?>
<p:tagLst xmlns:a="http://schemas.openxmlformats.org/drawingml/2006/main" xmlns:r="http://schemas.openxmlformats.org/officeDocument/2006/relationships" xmlns:p="http://schemas.openxmlformats.org/presentationml/2006/main">
  <p:tag name="BCG_MODE" val="Presentation"/>
  <p:tag name="BCG_DESIGN" val="Five heading"/>
  <p:tag name="EE4P_STRETCH" val="1"/>
  <p:tag name="EE4P_LAYOUT_ID" val="K"/>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LUXd3xTcQ9aGTq68Nouslg"/>
</p:tagLst>
</file>

<file path=ppt/tags/tag223.xml><?xml version="1.0" encoding="utf-8"?>
<p:tagLst xmlns:a="http://schemas.openxmlformats.org/drawingml/2006/main" xmlns:r="http://schemas.openxmlformats.org/officeDocument/2006/relationships" xmlns:p="http://schemas.openxmlformats.org/presentationml/2006/main">
  <p:tag name="BCG_MODE" val="Presentation"/>
  <p:tag name="BCG_DESIGN" val="Five heading"/>
  <p:tag name="EE4P_STRETCH" val="1"/>
  <p:tag name="EE4P_LAYOUT_ID" val="K"/>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UXd3xTcQ9aGTq68Nouslg"/>
</p:tagLst>
</file>

<file path=ppt/tags/tag226.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tFKScnP.gi59q1B.0oHA1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UpSA06_nSciRg4GdppDTT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O6.pWoRLGqLfiCNNUaP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UKGmguQPsUGvz4lCe4tkzA"/>
</p:tagLst>
</file>

<file path=ppt/tags/tag234.xml><?xml version="1.0" encoding="utf-8"?>
<p:tagLst xmlns:a="http://schemas.openxmlformats.org/drawingml/2006/main" xmlns:r="http://schemas.openxmlformats.org/officeDocument/2006/relationships" xmlns:p="http://schemas.openxmlformats.org/presentationml/2006/main">
  <p:tag name="EE4P_SLIDEID" val="aa9940b7-d11a-42ad-8cda-08aaac9d777a"/>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aa9940b7-d11a-42ad-8cda-08aaac9d777a_Element"/>
</p:tagLst>
</file>

<file path=ppt/tags/tag236.xml><?xml version="1.0" encoding="utf-8"?>
<p:tagLst xmlns:a="http://schemas.openxmlformats.org/drawingml/2006/main" xmlns:r="http://schemas.openxmlformats.org/officeDocument/2006/relationships" xmlns:p="http://schemas.openxmlformats.org/presentationml/2006/main">
  <p:tag name="EE4P_AGENDAWIZARD" val="item_aa9940b7-d11a-42ad-8cda-08aaac9d777a_Element"/>
</p:tagLst>
</file>

<file path=ppt/tags/tag237.xml><?xml version="1.0" encoding="utf-8"?>
<p:tagLst xmlns:a="http://schemas.openxmlformats.org/drawingml/2006/main" xmlns:r="http://schemas.openxmlformats.org/officeDocument/2006/relationships" xmlns:p="http://schemas.openxmlformats.org/presentationml/2006/main">
  <p:tag name="EE4P_AGENDAWIZARD" val="item_aa9940b7-d11a-42ad-8cda-08aaac9d777a_1"/>
  <p:tag name="EE4P_AGENDAWIZARD_CONTENT" val="/Your turn now!"/>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f86ff4e3-f763-4f13-9b9d-5e28c9239c15_1"/>
  <p:tag name="EE4P_AGENDAWIZARD_CONTENT" val="/Teams and Calendar"/>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ddfdc15a-0405-433a-9161-c4eafc8f5339_1"/>
  <p:tag name="EE4P_AGENDAWIZARD_CONTENT" val="/Case Study Introduction"/>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ubGuTj4iQ4abNpzxXNbDBQ"/>
</p:tagLst>
</file>

<file path=ppt/tags/tag24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niFcs1p7TNaf4vL_qgjrww"/>
</p:tagLst>
</file>

<file path=ppt/tags/tag247.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c7EJ_AsC4MBUAjnJLZxb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rFU9Ps2R1mA6KTNBcDr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6.xml><?xml version="1.0" encoding="utf-8"?>
<p:tagLst xmlns:a="http://schemas.openxmlformats.org/drawingml/2006/main" xmlns:r="http://schemas.openxmlformats.org/officeDocument/2006/relationships" xmlns:p="http://schemas.openxmlformats.org/presentationml/2006/main">
  <p:tag name="MM_SLIDE_TYPE" val="6"/>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F.cKDc4RqKAuHWFBdND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LBzLIJaQheecwM42Fhvo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4YXCl0RQRq984EGkGMEWg"/>
</p:tagLst>
</file>

<file path=ppt/tags/tag43.xml><?xml version="1.0" encoding="utf-8"?>
<p:tagLst xmlns:a="http://schemas.openxmlformats.org/drawingml/2006/main" xmlns:r="http://schemas.openxmlformats.org/officeDocument/2006/relationships" xmlns:p="http://schemas.openxmlformats.org/presentationml/2006/main">
  <p:tag name="MM_SLIDE_TYPE" val="6"/>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bDu0xRORZuuPD3UOOEk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7bDu0xRORZuuPD3UOOEk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bDu0xRORZuuPD3UOOEkk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7bDu0xRORZuuPD3UOOEk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zlTf8EYQzCmNE6emySLBg"/>
</p:tagLst>
</file>

<file path=ppt/tags/tag54.xml><?xml version="1.0" encoding="utf-8"?>
<p:tagLst xmlns:a="http://schemas.openxmlformats.org/drawingml/2006/main" xmlns:r="http://schemas.openxmlformats.org/officeDocument/2006/relationships" xmlns:p="http://schemas.openxmlformats.org/presentationml/2006/main">
  <p:tag name="MM_SLIDE_TYPE" val="6"/>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RVUpRTnQ3SafRMaNBUlqQ"/>
</p:tagLst>
</file>

<file path=ppt/tags/tag5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5jvwO6wSpa4dvgeQ_MtFQ"/>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ujjBdI7TbG9fglXWI9I4w"/>
</p:tagLst>
</file>

<file path=ppt/tags/tag62.xml><?xml version="1.0" encoding="utf-8"?>
<p:tagLst xmlns:a="http://schemas.openxmlformats.org/drawingml/2006/main" xmlns:r="http://schemas.openxmlformats.org/officeDocument/2006/relationships" xmlns:p="http://schemas.openxmlformats.org/presentationml/2006/main">
  <p:tag name="MM_SLIDE_TYPE" val="6"/>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EUKjtJkSHW_lZIBfcd8eA"/>
</p:tagLst>
</file>

<file path=ppt/tags/tag65.xml><?xml version="1.0" encoding="utf-8"?>
<p:tagLst xmlns:a="http://schemas.openxmlformats.org/drawingml/2006/main" xmlns:r="http://schemas.openxmlformats.org/officeDocument/2006/relationships" xmlns:p="http://schemas.openxmlformats.org/presentationml/2006/main">
  <p:tag name="MM_SLIDE_TYPE" val="6"/>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96ap7w3.RAKiapeeGgnl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4ulAFHfTgSI1ORyxEgD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IxIBVArSHKE6upbrsahg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zlTf8EYQzCmNE6emySL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LiRuJRyTmG_J4WFgfgyj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eTAS3Y4R7qpdvTiG66rE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nsisPKk6QbidZyFcqoVj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_HWQxSaRmOftV_ku5BIpA"/>
</p:tagLst>
</file>

<file path=ppt/tags/tag82.xml><?xml version="1.0" encoding="utf-8"?>
<p:tagLst xmlns:a="http://schemas.openxmlformats.org/drawingml/2006/main" xmlns:r="http://schemas.openxmlformats.org/officeDocument/2006/relationships" xmlns:p="http://schemas.openxmlformats.org/presentationml/2006/main">
  <p:tag name="MM_SLIDE_TYPE" val="6"/>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wbb0HTugR46mpiTqD2O43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1yvBvjebRrSU7vcA3pOwfA"/>
</p:tagLst>
</file>

<file path=ppt/tags/tag87.xml><?xml version="1.0" encoding="utf-8"?>
<p:tagLst xmlns:a="http://schemas.openxmlformats.org/drawingml/2006/main" xmlns:r="http://schemas.openxmlformats.org/officeDocument/2006/relationships" xmlns:p="http://schemas.openxmlformats.org/presentationml/2006/main">
  <p:tag name="MM_SLIDE_TYPE" val="6"/>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il1zYosRRG7JLaNM6_i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7bDu0xRORZuuPD3UOOEk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aTRIHTOSbKFFISH_JRY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gzJttocSG20NG2LM0H2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MM_SLIDE_TYPE" val="6"/>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xqHtlgUQJOfqNb8x0DWZQ"/>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Digital Transformation Grid 16:9">
  <a:themeElements>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435264"/>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6E6F73"/>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bodyPr/>
      <a:lstStyle>
        <a:defPPr algn="l">
          <a:defRPr sz="3200" dirty="0">
            <a:solidFill>
              <a:srgbClr val="FFFFFF"/>
            </a:solidFill>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824EA1F3-9F60-43B6-8B9B-B2AF11CB2E0B}" vid="{A809D09B-2009-4C55-BA4D-8CFC05678270}"/>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10.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11.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12.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13.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14.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15.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16.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17.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18.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19.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2.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20.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21.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22.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23.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24.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25.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26.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27.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28.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29.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3.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30.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31.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32.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33.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34.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35.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36.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37.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38.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39.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4.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40.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5.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6.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7.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8.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ppt/theme/themeOverride9.xml><?xml version="1.0" encoding="utf-8"?>
<a:themeOverride xmlns:a="http://schemas.openxmlformats.org/drawingml/2006/main">
  <a:clrScheme name="xx">
    <a:dk1>
      <a:srgbClr val="435264"/>
    </a:dk1>
    <a:lt1>
      <a:sysClr val="window" lastClr="FFFFFF"/>
    </a:lt1>
    <a:dk2>
      <a:srgbClr val="435264"/>
    </a:dk2>
    <a:lt2>
      <a:srgbClr val="F2F2F2"/>
    </a:lt2>
    <a:accent1>
      <a:srgbClr val="1D232B"/>
    </a:accent1>
    <a:accent2>
      <a:srgbClr val="28313C"/>
    </a:accent2>
    <a:accent3>
      <a:srgbClr val="A0CD39"/>
    </a:accent3>
    <a:accent4>
      <a:srgbClr val="8A9BB0"/>
    </a:accent4>
    <a:accent5>
      <a:srgbClr val="606164"/>
    </a:accent5>
    <a:accent6>
      <a:srgbClr val="DC572A"/>
    </a:accent6>
    <a:hlink>
      <a:srgbClr val="2E3558"/>
    </a:hlink>
    <a:folHlink>
      <a:srgbClr val="2E3558"/>
    </a:folHlink>
  </a:clrScheme>
</a:themeOverride>
</file>

<file path=docProps/app.xml><?xml version="1.0" encoding="utf-8"?>
<Properties xmlns="http://schemas.openxmlformats.org/officeDocument/2006/extended-properties" xmlns:vt="http://schemas.openxmlformats.org/officeDocument/2006/docPropsVTypes">
  <Template>blank</Template>
  <TotalTime>0</TotalTime>
  <Words>2020</Words>
  <Application>Microsoft Office PowerPoint</Application>
  <PresentationFormat>Widescreen</PresentationFormat>
  <Paragraphs>344</Paragraphs>
  <Slides>21</Slides>
  <Notes>14</Notes>
  <HiddenSlides>0</HiddenSlides>
  <MMClips>0</MMClips>
  <ScaleCrop>false</ScaleCrop>
  <HeadingPairs>
    <vt:vector size="10"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21</vt:i4>
      </vt:variant>
      <vt:variant>
        <vt:lpstr>Custom Shows</vt:lpstr>
      </vt:variant>
      <vt:variant>
        <vt:i4>1</vt:i4>
      </vt:variant>
    </vt:vector>
  </HeadingPairs>
  <TitlesOfParts>
    <vt:vector size="28" baseType="lpstr">
      <vt:lpstr>Arial</vt:lpstr>
      <vt:lpstr>Century Gothic</vt:lpstr>
      <vt:lpstr>Trebuchet MS</vt:lpstr>
      <vt:lpstr>BCG Grid 16:9</vt:lpstr>
      <vt:lpstr>Digital Transformation Grid 16:9</vt:lpstr>
      <vt:lpstr>think-cell Slide</vt:lpstr>
      <vt:lpstr>The power of AI</vt:lpstr>
      <vt:lpstr>Quick presentation of your BCG facilitators</vt:lpstr>
      <vt:lpstr>Three sessions to dive into consulting at BCG</vt:lpstr>
      <vt:lpstr>Agenda</vt:lpstr>
      <vt:lpstr>Objective : experience a strategy and data science consulting project in three days</vt:lpstr>
      <vt:lpstr>Case brief</vt:lpstr>
      <vt:lpstr>Rules and guidelines</vt:lpstr>
      <vt:lpstr>2 years of transaction data provided</vt:lpstr>
      <vt:lpstr>Agenda</vt:lpstr>
      <vt:lpstr>Case Study Calendar</vt:lpstr>
      <vt:lpstr>CTMs team schedule (30' per team)</vt:lpstr>
      <vt:lpstr>Final presentation schedule (30' per team)</vt:lpstr>
      <vt:lpstr>The consulting team will answer your questions before the CTM</vt:lpstr>
      <vt:lpstr>Technical pre-requisites for the case study</vt:lpstr>
      <vt:lpstr>We expect…</vt:lpstr>
      <vt:lpstr>Agenda</vt:lpstr>
      <vt:lpstr>Start by choosing 4 interviews out of those 8, to give you more insight </vt:lpstr>
      <vt:lpstr>Now, it's time for a 4-hour working session </vt:lpstr>
      <vt:lpstr>Did you enjoy the case study? Interested in what we do?  Reach out to  Breavoine.Marie@bcg.com</vt:lpstr>
      <vt:lpstr>PowerPoint Presentation</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TM Cours HEC</dc:title>
  <dc:creator>Hastings, Jean</dc:creator>
  <cp:lastModifiedBy>Beffy-Ponçon, Magali</cp:lastModifiedBy>
  <cp:revision>193</cp:revision>
  <cp:lastPrinted>2016-04-06T18:59:25Z</cp:lastPrinted>
  <dcterms:created xsi:type="dcterms:W3CDTF">2020-09-09T10:48:29Z</dcterms:created>
  <dcterms:modified xsi:type="dcterms:W3CDTF">2021-02-08T05:4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16527311</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ies>
</file>